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20"/>
  </p:sldMasterIdLst>
  <p:notesMasterIdLst>
    <p:notesMasterId r:id="rId35"/>
  </p:notesMasterIdLst>
  <p:handoutMasterIdLst>
    <p:handoutMasterId r:id="rId36"/>
  </p:handoutMasterIdLst>
  <p:sldIdLst>
    <p:sldId id="1423" r:id="rId21"/>
    <p:sldId id="1425" r:id="rId22"/>
    <p:sldId id="939" r:id="rId23"/>
    <p:sldId id="1439" r:id="rId24"/>
    <p:sldId id="1410" r:id="rId25"/>
    <p:sldId id="1440" r:id="rId26"/>
    <p:sldId id="1442" r:id="rId27"/>
    <p:sldId id="1441" r:id="rId28"/>
    <p:sldId id="1444" r:id="rId29"/>
    <p:sldId id="1443" r:id="rId30"/>
    <p:sldId id="1438" r:id="rId31"/>
    <p:sldId id="1448" r:id="rId32"/>
    <p:sldId id="1446" r:id="rId33"/>
    <p:sldId id="1445" r:id="rId34"/>
  </p:sldIdLst>
  <p:sldSz cx="12198350" cy="6858000"/>
  <p:notesSz cx="7099300" cy="10234613"/>
  <p:custDataLst>
    <p:custData r:id="rId14"/>
    <p:tags r:id="rId3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3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2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uber, Sarah (RC-US BT FLD Z6 BPS)" initials="HS(BFZB" lastIdx="2" clrIdx="0">
    <p:extLst>
      <p:ext uri="{19B8F6BF-5375-455C-9EA6-DF929625EA0E}">
        <p15:presenceInfo xmlns:p15="http://schemas.microsoft.com/office/powerpoint/2012/main" userId="S::sarah.huber@siemens.com::aad486b4-9886-49ff-80b9-895a0467c8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780A"/>
    <a:srgbClr val="3FA4B5"/>
    <a:srgbClr val="AAB724"/>
    <a:srgbClr val="00577D"/>
    <a:srgbClr val="8D003F"/>
    <a:srgbClr val="E06821"/>
    <a:srgbClr val="A40049"/>
    <a:srgbClr val="FDFDFC"/>
    <a:srgbClr val="FDFDFD"/>
    <a:srgbClr val="FDFE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7E05B2-D9F0-4A55-96A8-9791940B74D1}" v="44" dt="2020-11-30T19:26:53.010"/>
  </p1510:revLst>
</p1510:revInfo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07" autoAdjust="0"/>
    <p:restoredTop sz="94637" autoAdjust="0"/>
  </p:normalViewPr>
  <p:slideViewPr>
    <p:cSldViewPr snapToObjects="1" showGuides="1">
      <p:cViewPr varScale="1">
        <p:scale>
          <a:sx n="65" d="100"/>
          <a:sy n="65" d="100"/>
        </p:scale>
        <p:origin x="316" y="60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3903"/>
        <p:guide orient="horz" pos="654"/>
        <p:guide orient="horz" pos="2452"/>
        <p:guide orient="horz" pos="2360"/>
        <p:guide orient="horz" pos="909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1.xml"/><Relationship Id="rId29" Type="http://schemas.openxmlformats.org/officeDocument/2006/relationships/slide" Target="slides/slide9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notesMaster" Target="notesMasters/notesMaster1.xml"/><Relationship Id="rId43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siemensnam-my.sharepoint.com/personal/rashel_ranger_siemens_com/Documents/Energy%20Development%20Projects/Camden,%20ME%20Town%20of%2044op282205/Engineering/07%20FIMs%20Savings/Camden,%20Town%20of_Savings%20Calculations_PM40TRR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siemensnam-my.sharepoint.com/personal/rashel_ranger_siemens_com/Documents/Energy%20Development%20Projects/Camden,%20ME%20Town%20of%2044op282205/Engineering/07%20FIMs%20Savings/Camden,%20Town%20of_Savings%20Calculations_PM40TRR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Energy and Operational Cost Savings by Location ($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38B-4C31-ABEE-5B4E5C4D234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38B-4C31-ABEE-5B4E5C4D234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38B-4C31-ABEE-5B4E5C4D234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38B-4C31-ABEE-5B4E5C4D234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B38B-4C31-ABEE-5B4E5C4D234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B38B-4C31-ABEE-5B4E5C4D234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D$17:$D$22</c:f>
              <c:strCache>
                <c:ptCount val="6"/>
                <c:pt idx="0">
                  <c:v>Camden Public Library</c:v>
                </c:pt>
                <c:pt idx="1">
                  <c:v>Camden Snow Bowl Lodge</c:v>
                </c:pt>
                <c:pt idx="2">
                  <c:v>Opera House</c:v>
                </c:pt>
                <c:pt idx="3">
                  <c:v>Public Safety</c:v>
                </c:pt>
                <c:pt idx="4">
                  <c:v>Public Works</c:v>
                </c:pt>
                <c:pt idx="5">
                  <c:v>Waste Water Treatment Plant</c:v>
                </c:pt>
              </c:strCache>
            </c:strRef>
          </c:cat>
          <c:val>
            <c:numRef>
              <c:f>Sheet2!$F$17:$F$22</c:f>
              <c:numCache>
                <c:formatCode>General</c:formatCode>
                <c:ptCount val="6"/>
                <c:pt idx="0">
                  <c:v>0.28812115053983572</c:v>
                </c:pt>
                <c:pt idx="1">
                  <c:v>0.26741361638833744</c:v>
                </c:pt>
                <c:pt idx="2">
                  <c:v>0.23665311199877223</c:v>
                </c:pt>
                <c:pt idx="3">
                  <c:v>0.10055074531572127</c:v>
                </c:pt>
                <c:pt idx="4">
                  <c:v>6.0947370010923665E-2</c:v>
                </c:pt>
                <c:pt idx="5">
                  <c:v>4.63140057464096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BAE-40A2-94C1-FC81470BFC7A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/>
              <a:t>CO2</a:t>
            </a:r>
            <a:r>
              <a:rPr lang="en-US" b="1" baseline="0"/>
              <a:t> Reduction by Location (Tons CO2)</a:t>
            </a:r>
            <a:endParaRPr lang="en-US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34A-4E21-B45B-1B1845437EC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34A-4E21-B45B-1B1845437EC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34A-4E21-B45B-1B1845437EC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C34A-4E21-B45B-1B1845437EC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34A-4E21-B45B-1B1845437EC7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C34A-4E21-B45B-1B1845437EC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2!$D$4:$D$9</c:f>
              <c:strCache>
                <c:ptCount val="6"/>
                <c:pt idx="0">
                  <c:v>Camden Public Library</c:v>
                </c:pt>
                <c:pt idx="1">
                  <c:v>Camden Snow Bowl Lodge</c:v>
                </c:pt>
                <c:pt idx="2">
                  <c:v>Opera House</c:v>
                </c:pt>
                <c:pt idx="3">
                  <c:v>Public Safety</c:v>
                </c:pt>
                <c:pt idx="4">
                  <c:v>Public Works</c:v>
                </c:pt>
                <c:pt idx="5">
                  <c:v>Waste Water Treatment Plant</c:v>
                </c:pt>
              </c:strCache>
            </c:strRef>
          </c:cat>
          <c:val>
            <c:numRef>
              <c:f>Sheet2!$E$4:$E$9</c:f>
              <c:numCache>
                <c:formatCode>0%</c:formatCode>
                <c:ptCount val="6"/>
                <c:pt idx="0">
                  <c:v>0.48096293723158207</c:v>
                </c:pt>
                <c:pt idx="1">
                  <c:v>0.22414319389361712</c:v>
                </c:pt>
                <c:pt idx="2">
                  <c:v>0.21524700574534689</c:v>
                </c:pt>
                <c:pt idx="3">
                  <c:v>8.1855816319135452E-2</c:v>
                </c:pt>
                <c:pt idx="4">
                  <c:v>6.8126140873173008E-2</c:v>
                </c:pt>
                <c:pt idx="5">
                  <c:v>3.350925804689985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DA-4A42-8C43-51E846FD0FE9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6259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customXml" Target="../../customXml/item7.xml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customXml" Target="../../customXml/item10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customXml" Target="../../customXml/item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customXml" Target="../../customXml/item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customXml" Target="../../customXml/item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customXml" Target="../../customXml/item16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4" Type="http://schemas.openxmlformats.org/officeDocument/2006/relationships/tags" Target="../tags/tag6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customXml" Target="../../customXml/item5.xml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customXml" Target="../../customXml/item1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customXml" Target="../../customXml/item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7.xml"/><Relationship Id="rId4" Type="http://schemas.openxmlformats.org/officeDocument/2006/relationships/tags" Target="../tags/tag7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customXml" Target="../../customXml/item12.xml"/><Relationship Id="rId6" Type="http://schemas.openxmlformats.org/officeDocument/2006/relationships/tags" Target="../tags/tag82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6.xml"/><Relationship Id="rId4" Type="http://schemas.openxmlformats.org/officeDocument/2006/relationships/tags" Target="../tags/tag8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customXml" Target="../../customXml/item15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image" Target="../media/image3.jpe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customXml" Target="../../customXml/item1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customXml" Target="../../customXml/item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83" descr="cover.png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175" y="-9144"/>
            <a:ext cx="12214327" cy="6866272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Unrestrictedity note</a:t>
            </a:r>
            <a:endParaRPr lang="de-DE" dirty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1594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9931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4752000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6768000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40000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40000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endParaRPr lang="fr-FR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40000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40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40000"/>
            <a:ext cx="5904000" cy="4752000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46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8837154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2304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/>
              <a:t>Please</a:t>
            </a:r>
            <a:r>
              <a:rPr lang="de-DE" dirty="0"/>
              <a:t> </a:t>
            </a:r>
            <a:r>
              <a:rPr lang="de-DE" dirty="0" err="1"/>
              <a:t>insert</a:t>
            </a:r>
            <a:r>
              <a:rPr lang="de-DE" dirty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/>
              <a:t>Please insert Unrestrictedity note</a:t>
            </a:r>
            <a:endParaRPr lang="de-DE" dirty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3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3600450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40000"/>
            <a:ext cx="3600000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40000"/>
            <a:ext cx="3600000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40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40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6768000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4032000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40000"/>
            <a:ext cx="4032000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2592000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40000"/>
            <a:ext cx="2736775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40000"/>
            <a:ext cx="2592387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2304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4032000" cy="2304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40000"/>
            <a:ext cx="4032000" cy="2304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88000"/>
            <a:ext cx="4032000" cy="2304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88000"/>
            <a:ext cx="4032000" cy="2304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/>
              <a:t>Click to edit the navigation text</a:t>
            </a:r>
          </a:p>
          <a:p>
            <a:pPr lvl="1"/>
            <a:r>
              <a:rPr lang="en-US" noProof="0" dirty="0"/>
              <a:t>active chapter</a:t>
            </a:r>
          </a:p>
          <a:p>
            <a:pPr lvl="2"/>
            <a:r>
              <a:rPr lang="en-US" noProof="0" dirty="0"/>
              <a:t>subchapter</a:t>
            </a:r>
          </a:p>
          <a:p>
            <a:pPr lvl="3"/>
            <a:r>
              <a:rPr lang="en-US" noProof="0" dirty="0"/>
              <a:t>active subchapter</a:t>
            </a:r>
          </a:p>
          <a:p>
            <a:pPr lvl="4"/>
            <a:r>
              <a:rPr lang="en-US" noProof="0" dirty="0"/>
              <a:t>subchapter</a:t>
            </a:r>
          </a:p>
          <a:p>
            <a:pPr lvl="5"/>
            <a:r>
              <a:rPr lang="en-US" noProof="0" dirty="0"/>
              <a:t>active subchapter</a:t>
            </a:r>
            <a:endParaRPr lang="en-US" dirty="0"/>
          </a:p>
        </p:txBody>
      </p:sp>
      <p:grpSp>
        <p:nvGrpSpPr>
          <p:cNvPr id="11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40000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6800" cy="6857128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30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9053753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9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20043" y="6488113"/>
            <a:ext cx="1171127" cy="2730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60DE9039-6415-4A9B-BD39-20CCF35C3AE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50707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2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4308043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3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65548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endParaRPr lang="fr-FR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39999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40000"/>
            <a:ext cx="3887914" cy="4752000"/>
          </a:xfrm>
        </p:spPr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40000"/>
            <a:ext cx="7539355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</a:t>
            </a:r>
            <a:r>
              <a:rPr lang="en-US" dirty="0" err="1"/>
              <a:t>toc</a:t>
            </a:r>
            <a:r>
              <a:rPr lang="en-US" dirty="0"/>
              <a:t> / 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9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4.xml"/><Relationship Id="rId42" Type="http://schemas.openxmlformats.org/officeDocument/2006/relationships/tags" Target="../tags/tag12.xml"/><Relationship Id="rId47" Type="http://schemas.openxmlformats.org/officeDocument/2006/relationships/tags" Target="../tags/tag17.xml"/><Relationship Id="rId50" Type="http://schemas.openxmlformats.org/officeDocument/2006/relationships/tags" Target="../tags/tag20.xml"/><Relationship Id="rId55" Type="http://schemas.openxmlformats.org/officeDocument/2006/relationships/tags" Target="../tags/tag2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38" Type="http://schemas.openxmlformats.org/officeDocument/2006/relationships/tags" Target="../tags/tag8.xml"/><Relationship Id="rId46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1.xml"/><Relationship Id="rId54" Type="http://schemas.openxmlformats.org/officeDocument/2006/relationships/tags" Target="../tags/tag2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37" Type="http://schemas.openxmlformats.org/officeDocument/2006/relationships/tags" Target="../tags/tag7.xml"/><Relationship Id="rId40" Type="http://schemas.openxmlformats.org/officeDocument/2006/relationships/tags" Target="../tags/tag10.xml"/><Relationship Id="rId45" Type="http://schemas.openxmlformats.org/officeDocument/2006/relationships/tags" Target="../tags/tag15.xml"/><Relationship Id="rId53" Type="http://schemas.openxmlformats.org/officeDocument/2006/relationships/tags" Target="../tags/tag23.xml"/><Relationship Id="rId58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6.xml"/><Relationship Id="rId49" Type="http://schemas.openxmlformats.org/officeDocument/2006/relationships/tags" Target="../tags/tag19.xml"/><Relationship Id="rId57" Type="http://schemas.openxmlformats.org/officeDocument/2006/relationships/tags" Target="../tags/tag2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4" Type="http://schemas.openxmlformats.org/officeDocument/2006/relationships/tags" Target="../tags/tag14.xml"/><Relationship Id="rId52" Type="http://schemas.openxmlformats.org/officeDocument/2006/relationships/tags" Target="../tags/tag2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5.xml"/><Relationship Id="rId43" Type="http://schemas.openxmlformats.org/officeDocument/2006/relationships/tags" Target="../tags/tag13.xml"/><Relationship Id="rId48" Type="http://schemas.openxmlformats.org/officeDocument/2006/relationships/tags" Target="../tags/tag18.xml"/><Relationship Id="rId56" Type="http://schemas.openxmlformats.org/officeDocument/2006/relationships/tags" Target="../tags/tag26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2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3"/>
            </p:custDataLst>
          </p:nvPr>
        </p:nvSpPr>
        <p:spPr bwMode="auto">
          <a:xfrm>
            <a:off x="627063" y="1441451"/>
            <a:ext cx="8208962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5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5" name="cdtTextBox 11 Id18"/>
          <p:cNvSpPr txBox="1"/>
          <p:nvPr userDrawn="1">
            <p:custDataLst>
              <p:tags r:id="rId57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>
                <a:solidFill>
                  <a:srgbClr val="3FA4B5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3FA4B5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>
              <a:solidFill>
                <a:srgbClr val="3FA4B5"/>
              </a:solidFill>
            </a:endParaRPr>
          </a:p>
        </p:txBody>
      </p:sp>
      <p:grpSp>
        <p:nvGrpSpPr>
          <p:cNvPr id="67" name="Gruppieren 66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54" name="Picture 53" descr="city-illustration.png"/>
          <p:cNvPicPr>
            <a:picLocks noChangeAspect="1"/>
          </p:cNvPicPr>
          <p:nvPr userDrawn="1"/>
        </p:nvPicPr>
        <p:blipFill>
          <a:blip r:embed="rId5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5007" y="5877272"/>
            <a:ext cx="9896736" cy="101672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8" r:id="rId3"/>
    <p:sldLayoutId id="2147483709" r:id="rId4"/>
    <p:sldLayoutId id="2147483710" r:id="rId5"/>
    <p:sldLayoutId id="2147483711" r:id="rId6"/>
    <p:sldLayoutId id="2147483703" r:id="rId7"/>
    <p:sldLayoutId id="2147483679" r:id="rId8"/>
    <p:sldLayoutId id="2147483695" r:id="rId9"/>
    <p:sldLayoutId id="2147483705" r:id="rId10"/>
    <p:sldLayoutId id="2147483706" r:id="rId11"/>
    <p:sldLayoutId id="2147483713" r:id="rId12"/>
    <p:sldLayoutId id="2147483712" r:id="rId13"/>
    <p:sldLayoutId id="2147483670" r:id="rId14"/>
    <p:sldLayoutId id="2147483692" r:id="rId15"/>
    <p:sldLayoutId id="2147483696" r:id="rId16"/>
    <p:sldLayoutId id="2147483707" r:id="rId17"/>
    <p:sldLayoutId id="2147483715" r:id="rId18"/>
    <p:sldLayoutId id="2147483683" r:id="rId19"/>
    <p:sldLayoutId id="2147483681" r:id="rId20"/>
    <p:sldLayoutId id="2147483697" r:id="rId21"/>
    <p:sldLayoutId id="2147483691" r:id="rId22"/>
    <p:sldLayoutId id="2147483693" r:id="rId23"/>
    <p:sldLayoutId id="2147483684" r:id="rId24"/>
    <p:sldLayoutId id="2147483685" r:id="rId25"/>
    <p:sldLayoutId id="2147483694" r:id="rId26"/>
    <p:sldLayoutId id="2147483686" r:id="rId27"/>
    <p:sldLayoutId id="2147483688" r:id="rId28"/>
    <p:sldLayoutId id="2147483704" r:id="rId29"/>
    <p:sldLayoutId id="2147483716" r:id="rId30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7" Type="http://schemas.openxmlformats.org/officeDocument/2006/relationships/image" Target="../media/image9.emf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5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27FE0F6-434D-A240-8E31-FAF291640E8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809"/>
          <a:stretch/>
        </p:blipFill>
        <p:spPr>
          <a:xfrm>
            <a:off x="0" y="-599019"/>
            <a:ext cx="12198350" cy="6194547"/>
          </a:xfrm>
          <a:prstGeom prst="rect">
            <a:avLst/>
          </a:prstGeom>
        </p:spPr>
      </p:pic>
      <p:grpSp>
        <p:nvGrpSpPr>
          <p:cNvPr id="14" name="Group 33">
            <a:extLst>
              <a:ext uri="{FF2B5EF4-FFF2-40B4-BE49-F238E27FC236}">
                <a16:creationId xmlns:a16="http://schemas.microsoft.com/office/drawing/2014/main" id="{71139019-6462-4E51-9D61-B062B140A2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8535" y="184670"/>
            <a:ext cx="2159000" cy="914400"/>
            <a:chOff x="6019" y="204"/>
            <a:chExt cx="1360" cy="576"/>
          </a:xfrm>
        </p:grpSpPr>
        <p:sp>
          <p:nvSpPr>
            <p:cNvPr id="15" name="AutoShape 32">
              <a:extLst>
                <a:ext uri="{FF2B5EF4-FFF2-40B4-BE49-F238E27FC236}">
                  <a16:creationId xmlns:a16="http://schemas.microsoft.com/office/drawing/2014/main" id="{DA712F7B-2B8D-4FDA-A549-A9F14AA3742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34">
              <a:extLst>
                <a:ext uri="{FF2B5EF4-FFF2-40B4-BE49-F238E27FC236}">
                  <a16:creationId xmlns:a16="http://schemas.microsoft.com/office/drawing/2014/main" id="{C40C0628-F636-4761-A5C8-E5FB5EE0C82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5">
              <a:extLst>
                <a:ext uri="{FF2B5EF4-FFF2-40B4-BE49-F238E27FC236}">
                  <a16:creationId xmlns:a16="http://schemas.microsoft.com/office/drawing/2014/main" id="{5D9EDE4F-90FC-4ABF-AFD5-89DDCB6C8D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6">
              <a:extLst>
                <a:ext uri="{FF2B5EF4-FFF2-40B4-BE49-F238E27FC236}">
                  <a16:creationId xmlns:a16="http://schemas.microsoft.com/office/drawing/2014/main" id="{2CB58991-CFD7-47F6-BBEA-7D3E8A09A5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37">
              <a:extLst>
                <a:ext uri="{FF2B5EF4-FFF2-40B4-BE49-F238E27FC236}">
                  <a16:creationId xmlns:a16="http://schemas.microsoft.com/office/drawing/2014/main" id="{70E2C7FB-C48E-4062-AE59-1B89AAF11D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38">
              <a:extLst>
                <a:ext uri="{FF2B5EF4-FFF2-40B4-BE49-F238E27FC236}">
                  <a16:creationId xmlns:a16="http://schemas.microsoft.com/office/drawing/2014/main" id="{8894012A-BC75-4486-BF57-0F2874F3BF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39">
              <a:extLst>
                <a:ext uri="{FF2B5EF4-FFF2-40B4-BE49-F238E27FC236}">
                  <a16:creationId xmlns:a16="http://schemas.microsoft.com/office/drawing/2014/main" id="{920F37AB-CD0C-4BBE-8215-69B6ABCE80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0">
              <a:extLst>
                <a:ext uri="{FF2B5EF4-FFF2-40B4-BE49-F238E27FC236}">
                  <a16:creationId xmlns:a16="http://schemas.microsoft.com/office/drawing/2014/main" id="{ABA34018-744C-43BB-B325-1F710A9D77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1">
              <a:extLst>
                <a:ext uri="{FF2B5EF4-FFF2-40B4-BE49-F238E27FC236}">
                  <a16:creationId xmlns:a16="http://schemas.microsoft.com/office/drawing/2014/main" id="{BDAD911C-8B15-4578-9B3E-10F9E8DB6C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2">
              <a:extLst>
                <a:ext uri="{FF2B5EF4-FFF2-40B4-BE49-F238E27FC236}">
                  <a16:creationId xmlns:a16="http://schemas.microsoft.com/office/drawing/2014/main" id="{797A8C79-ECBA-4AC9-A626-323F295B31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3">
              <a:extLst>
                <a:ext uri="{FF2B5EF4-FFF2-40B4-BE49-F238E27FC236}">
                  <a16:creationId xmlns:a16="http://schemas.microsoft.com/office/drawing/2014/main" id="{3C3F2973-EADB-4079-958A-DCEC18EE0E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4">
              <a:extLst>
                <a:ext uri="{FF2B5EF4-FFF2-40B4-BE49-F238E27FC236}">
                  <a16:creationId xmlns:a16="http://schemas.microsoft.com/office/drawing/2014/main" id="{A0413CFD-C41A-49E6-9088-E15153967D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5">
              <a:extLst>
                <a:ext uri="{FF2B5EF4-FFF2-40B4-BE49-F238E27FC236}">
                  <a16:creationId xmlns:a16="http://schemas.microsoft.com/office/drawing/2014/main" id="{0F22903D-4FE1-4053-9E3E-8C3819F13A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6">
              <a:extLst>
                <a:ext uri="{FF2B5EF4-FFF2-40B4-BE49-F238E27FC236}">
                  <a16:creationId xmlns:a16="http://schemas.microsoft.com/office/drawing/2014/main" id="{14C17297-6A09-473C-92EC-31F2762039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47">
              <a:extLst>
                <a:ext uri="{FF2B5EF4-FFF2-40B4-BE49-F238E27FC236}">
                  <a16:creationId xmlns:a16="http://schemas.microsoft.com/office/drawing/2014/main" id="{F7CA1F72-2AEC-49BB-A9E5-9580EC1459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48">
              <a:extLst>
                <a:ext uri="{FF2B5EF4-FFF2-40B4-BE49-F238E27FC236}">
                  <a16:creationId xmlns:a16="http://schemas.microsoft.com/office/drawing/2014/main" id="{E96AD07D-3EBB-4013-A764-05EA132DBB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49">
              <a:extLst>
                <a:ext uri="{FF2B5EF4-FFF2-40B4-BE49-F238E27FC236}">
                  <a16:creationId xmlns:a16="http://schemas.microsoft.com/office/drawing/2014/main" id="{8F9938E8-940A-4ABA-A033-28DACF7676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0">
              <a:extLst>
                <a:ext uri="{FF2B5EF4-FFF2-40B4-BE49-F238E27FC236}">
                  <a16:creationId xmlns:a16="http://schemas.microsoft.com/office/drawing/2014/main" id="{E83E0585-4AC6-4135-A088-D7ACC210A8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1">
              <a:extLst>
                <a:ext uri="{FF2B5EF4-FFF2-40B4-BE49-F238E27FC236}">
                  <a16:creationId xmlns:a16="http://schemas.microsoft.com/office/drawing/2014/main" id="{85B53008-B1CA-444A-85DA-DB114E6244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2">
              <a:extLst>
                <a:ext uri="{FF2B5EF4-FFF2-40B4-BE49-F238E27FC236}">
                  <a16:creationId xmlns:a16="http://schemas.microsoft.com/office/drawing/2014/main" id="{189DF9E5-3618-4CC2-9352-528E54BFA1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3">
              <a:extLst>
                <a:ext uri="{FF2B5EF4-FFF2-40B4-BE49-F238E27FC236}">
                  <a16:creationId xmlns:a16="http://schemas.microsoft.com/office/drawing/2014/main" id="{EC41E7CA-6EC7-4D7F-861F-B4DF4C48EF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4">
              <a:extLst>
                <a:ext uri="{FF2B5EF4-FFF2-40B4-BE49-F238E27FC236}">
                  <a16:creationId xmlns:a16="http://schemas.microsoft.com/office/drawing/2014/main" id="{6F597839-BD03-44E6-84A8-5285821FA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5">
              <a:extLst>
                <a:ext uri="{FF2B5EF4-FFF2-40B4-BE49-F238E27FC236}">
                  <a16:creationId xmlns:a16="http://schemas.microsoft.com/office/drawing/2014/main" id="{CBE0D12D-1E10-49A8-B6A0-B6A783E49D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6">
              <a:extLst>
                <a:ext uri="{FF2B5EF4-FFF2-40B4-BE49-F238E27FC236}">
                  <a16:creationId xmlns:a16="http://schemas.microsoft.com/office/drawing/2014/main" id="{045997A2-E938-4D61-9D74-E20E19E2D7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57">
              <a:extLst>
                <a:ext uri="{FF2B5EF4-FFF2-40B4-BE49-F238E27FC236}">
                  <a16:creationId xmlns:a16="http://schemas.microsoft.com/office/drawing/2014/main" id="{029C7854-0AA1-444A-BF02-E0BCE097BA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58">
              <a:extLst>
                <a:ext uri="{FF2B5EF4-FFF2-40B4-BE49-F238E27FC236}">
                  <a16:creationId xmlns:a16="http://schemas.microsoft.com/office/drawing/2014/main" id="{FE69DF9F-BF67-4754-8EC7-4127A10A79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59">
              <a:extLst>
                <a:ext uri="{FF2B5EF4-FFF2-40B4-BE49-F238E27FC236}">
                  <a16:creationId xmlns:a16="http://schemas.microsoft.com/office/drawing/2014/main" id="{83A0DCDC-7A7B-460C-8490-DEBB305FE0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2" name="cdtRectangle 115 Id57350">
            <a:extLst>
              <a:ext uri="{FF2B5EF4-FFF2-40B4-BE49-F238E27FC236}">
                <a16:creationId xmlns:a16="http://schemas.microsoft.com/office/drawing/2014/main" id="{10F6273E-328B-4F8A-A2D2-4462F9F644AE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ltGray">
          <a:xfrm>
            <a:off x="14499" y="4545124"/>
            <a:ext cx="9793088" cy="1047652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216000" tIns="90000" rIns="216000" bIns="216000" numCol="1" anchor="b" anchorCtr="0" compatLnSpc="1">
            <a:prstTxWarp prst="textNoShape">
              <a:avLst/>
            </a:prstTxWarp>
            <a:sp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 sz="4400" b="1" smtClean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r>
              <a:rPr lang="en-US" sz="2400" kern="0" dirty="0"/>
              <a:t>Infrastructure Optimization and Total Energy Management:</a:t>
            </a:r>
          </a:p>
          <a:p>
            <a:r>
              <a:rPr lang="en-US" sz="2400" b="0" kern="0" dirty="0"/>
              <a:t>Utilizing Performance Contracting – Town of Camden</a:t>
            </a:r>
          </a:p>
        </p:txBody>
      </p:sp>
    </p:spTree>
    <p:extLst>
      <p:ext uri="{BB962C8B-B14F-4D97-AF65-F5344CB8AC3E}">
        <p14:creationId xmlns:p14="http://schemas.microsoft.com/office/powerpoint/2010/main" val="29664277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EA6F0-EF5C-44F2-818E-86C76A66A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mden Library: Potential FIM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D4C02C4-DD02-46A3-BCCE-626529FB74AE}"/>
              </a:ext>
            </a:extLst>
          </p:cNvPr>
          <p:cNvSpPr txBox="1"/>
          <p:nvPr/>
        </p:nvSpPr>
        <p:spPr>
          <a:xfrm>
            <a:off x="590563" y="1440000"/>
            <a:ext cx="5508612" cy="425725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Lighting and controls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trofit or replace all interior lighting to LED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stall programmable controls and wireless dimmers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Building Envelope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Weather stripping on external building door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sulate attic and walls that need to improved  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dditional Improvements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stall new propane boiler to replace current oil burner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stall new building automation system and implementing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    energy saving control strategie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stall O2 prime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 </a:t>
            </a:r>
          </a:p>
        </p:txBody>
      </p:sp>
      <p:pic>
        <p:nvPicPr>
          <p:cNvPr id="2050" name="Picture 2" descr="Camden Public Library | Coast of Maine Photography by Benjamin Williamson">
            <a:extLst>
              <a:ext uri="{FF2B5EF4-FFF2-40B4-BE49-F238E27FC236}">
                <a16:creationId xmlns:a16="http://schemas.microsoft.com/office/drawing/2014/main" id="{0C902112-1535-4997-958B-BDE0DEDE05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4556" y="1433713"/>
            <a:ext cx="5366513" cy="3579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84358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C8F7C7-CE50-428E-B5ED-4EF079C7F6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"/>
            <a:ext cx="12198350" cy="1268761"/>
          </a:xfrm>
        </p:spPr>
        <p:txBody>
          <a:bodyPr/>
          <a:lstStyle/>
          <a:p>
            <a:r>
              <a:rPr lang="en-US" dirty="0"/>
              <a:t>Potential Projects for the Town of Camden: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pSpPr>
            <a:grpSpLocks/>
          </p:cNvGrpSpPr>
          <p:nvPr/>
        </p:nvGrpSpPr>
        <p:grpSpPr bwMode="auto">
          <a:xfrm>
            <a:off x="4340873" y="1193225"/>
            <a:ext cx="3609529" cy="4518115"/>
            <a:chOff x="-2" y="-29"/>
            <a:chExt cx="1140" cy="2002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00000000-0008-0000-0000-000003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952" y="-29"/>
              <a:ext cx="186" cy="2002"/>
            </a:xfrm>
            <a:prstGeom prst="rect">
              <a:avLst/>
            </a:prstGeom>
            <a:solidFill>
              <a:srgbClr val="EEECE1">
                <a:lumMod val="40000"/>
                <a:lumOff val="60000"/>
              </a:srgbClr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vert="eaVert"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OPTION 2 PROJECT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0000000-0008-0000-0000-000004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2" y="-29"/>
              <a:ext cx="907" cy="288"/>
            </a:xfrm>
            <a:prstGeom prst="rect">
              <a:avLst/>
            </a:prstGeom>
            <a:solidFill>
              <a:srgbClr val="4BACC6">
                <a:lumMod val="60000"/>
                <a:lumOff val="40000"/>
              </a:srgbClr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Annual Contribution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Town = $60,000 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kern="0" dirty="0">
                  <a:solidFill>
                    <a:srgbClr val="FFFFFF"/>
                  </a:solidFill>
                  <a:latin typeface="Verdana" pitchFamily="34" charset="0"/>
                </a:rPr>
                <a:t>Library = $26,000</a:t>
              </a:r>
              <a:b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</a:b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0000000-0008-0000-0000-000005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77"/>
              <a:ext cx="907" cy="167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Energy &amp; Operational Savings 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$</a:t>
              </a:r>
              <a:r>
                <a:rPr lang="en-US" sz="1000" b="1" kern="0" dirty="0">
                  <a:solidFill>
                    <a:srgbClr val="FFFFFF"/>
                  </a:solidFill>
                  <a:latin typeface="Verdana" pitchFamily="34" charset="0"/>
                </a:rPr>
                <a:t>47,000 (22%)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0000000-0008-0000-0000-000006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56"/>
              <a:ext cx="906" cy="1511"/>
            </a:xfrm>
            <a:prstGeom prst="rect">
              <a:avLst/>
            </a:prstGeom>
            <a:gradFill rotWithShape="0">
              <a:gsLst>
                <a:gs pos="0">
                  <a:srgbClr val="4F81BD"/>
                </a:gs>
                <a:gs pos="100000">
                  <a:srgbClr val="4F81BD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2700">
              <a:solidFill>
                <a:sysClr val="windowText" lastClr="000000"/>
              </a:solidFill>
              <a:miter lim="800000"/>
              <a:headEnd/>
              <a:tailEnd/>
            </a:ln>
            <a:effectLst/>
          </p:spPr>
          <p:txBody>
            <a:bodyPr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Option 2 Total Project Cost 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$2,040,000</a:t>
              </a:r>
            </a:p>
            <a:p>
              <a:pPr marL="171450" lvl="0" indent="-17145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endParaRPr lang="en-US" kern="0" dirty="0">
                <a:solidFill>
                  <a:sysClr val="window" lastClr="FFFFFF"/>
                </a:solidFill>
                <a:latin typeface="+mj-lt"/>
              </a:endParaRP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Lighting Retrofit @ All Buildings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Lighting Controls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Parking Lot Lights @ Snow Bowl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Heat Pumps @ Public Safety &amp; Public Works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Basement Membrane @ Opera House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Building Weatherization @ All Buildings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Windows @ Snow Bowl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Attic Insulation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Building Automation System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Boiler Replacement and Fuel Conversion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O2 Prime @ Library &amp; Town Office</a:t>
              </a:r>
            </a:p>
            <a:p>
              <a:pPr marL="171450" indent="-17145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ü"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Geothermal Heating and Cooling System @ Snow Bowl</a:t>
              </a:r>
            </a:p>
            <a:p>
              <a:pPr lvl="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en-US" sz="1050" i="1" kern="0" dirty="0">
                  <a:solidFill>
                    <a:schemeClr val="accent3"/>
                  </a:solidFill>
                  <a:latin typeface="Verdana" pitchFamily="34" charset="0"/>
                </a:rPr>
                <a:t>X Roof Replacement @ Opera House</a:t>
              </a:r>
            </a:p>
            <a:p>
              <a:pPr lvl="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sz="1000" kern="0" dirty="0">
                <a:solidFill>
                  <a:sysClr val="window" lastClr="FFFFFF"/>
                </a:solidFill>
                <a:latin typeface="Verdana" pitchFamily="34" charset="0"/>
              </a:endParaRPr>
            </a:p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pSpPr>
            <a:grpSpLocks/>
          </p:cNvGrpSpPr>
          <p:nvPr/>
        </p:nvGrpSpPr>
        <p:grpSpPr bwMode="auto">
          <a:xfrm>
            <a:off x="8139173" y="1219056"/>
            <a:ext cx="3612531" cy="4506055"/>
            <a:chOff x="0" y="-10"/>
            <a:chExt cx="1138" cy="189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0000000-0008-0000-0000-000003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952" y="0"/>
              <a:ext cx="186" cy="1880"/>
            </a:xfrm>
            <a:prstGeom prst="rect">
              <a:avLst/>
            </a:prstGeom>
            <a:solidFill>
              <a:srgbClr val="EEECE1">
                <a:lumMod val="40000"/>
                <a:lumOff val="60000"/>
              </a:srgbClr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vert="eaVert"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OPTION 3 PROJECT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0000000-0008-0000-0000-000004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-10"/>
              <a:ext cx="905" cy="261"/>
            </a:xfrm>
            <a:prstGeom prst="rect">
              <a:avLst/>
            </a:prstGeom>
            <a:solidFill>
              <a:srgbClr val="4BACC6">
                <a:lumMod val="60000"/>
                <a:lumOff val="40000"/>
              </a:srgbClr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kern="0" dirty="0">
                  <a:solidFill>
                    <a:srgbClr val="FFFFFF"/>
                  </a:solidFill>
                  <a:latin typeface="Verdana" pitchFamily="34" charset="0"/>
                </a:rPr>
                <a:t>Annual</a:t>
              </a: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 Contribution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Town = $</a:t>
              </a:r>
              <a:r>
                <a:rPr lang="en-US" sz="1200" b="1" kern="0" dirty="0">
                  <a:solidFill>
                    <a:srgbClr val="FFFFFF"/>
                  </a:solidFill>
                  <a:latin typeface="Verdana" pitchFamily="34" charset="0"/>
                </a:rPr>
                <a:t>46,000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Library = $26,000</a:t>
              </a:r>
              <a:b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</a:b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0000000-0008-0000-0000-000005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264"/>
              <a:ext cx="905" cy="167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Energy &amp; Operational Savings 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$</a:t>
              </a:r>
              <a:r>
                <a:rPr lang="en-US" sz="1000" b="1" kern="0" dirty="0">
                  <a:solidFill>
                    <a:srgbClr val="FFFFFF"/>
                  </a:solidFill>
                  <a:latin typeface="Verdana" pitchFamily="34" charset="0"/>
                </a:rPr>
                <a:t>45,000 (20%)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0000000-0008-0000-0000-000006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44"/>
              <a:ext cx="906" cy="1436"/>
            </a:xfrm>
            <a:prstGeom prst="rect">
              <a:avLst/>
            </a:prstGeom>
            <a:gradFill rotWithShape="0">
              <a:gsLst>
                <a:gs pos="0">
                  <a:srgbClr val="4F81BD"/>
                </a:gs>
                <a:gs pos="100000">
                  <a:srgbClr val="4F81BD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2700">
              <a:solidFill>
                <a:sysClr val="windowText" lastClr="000000"/>
              </a:solidFill>
              <a:miter lim="800000"/>
              <a:headEnd/>
              <a:tailEnd/>
            </a:ln>
            <a:effectLst/>
          </p:spPr>
          <p:txBody>
            <a:bodyPr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Option 3 Total Project Cost 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$1,810,000</a:t>
              </a:r>
              <a:endParaRPr lang="en-US" sz="800" kern="0" dirty="0">
                <a:solidFill>
                  <a:sysClr val="window" lastClr="FFFFFF"/>
                </a:solidFill>
              </a:endParaRPr>
            </a:p>
            <a:p>
              <a:pPr marL="171450" lvl="0" indent="-17145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endParaRPr lang="en-US" kern="0" dirty="0">
                <a:solidFill>
                  <a:sysClr val="window" lastClr="FFFFFF"/>
                </a:solidFill>
                <a:latin typeface="+mj-lt"/>
              </a:endParaRP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Lighting Retrofit @ All Buildings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Lighting Controls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Parking Lot Lights @ Snow Bowl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Heat Pumps @ Public Safety &amp; Public Works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Basement Membrane @ Opera House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Building Weatherization @ All Buildings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Windows @ Snow Bowl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Attic Insulation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Building Automation System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Boiler Replacement and Fuel Conversion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O2 Prime @ Library &amp; Town Office</a:t>
              </a:r>
            </a:p>
            <a:p>
              <a:pPr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en-US" sz="1050" kern="0" dirty="0">
                  <a:solidFill>
                    <a:schemeClr val="accent3"/>
                  </a:solidFill>
                  <a:latin typeface="Verdana" pitchFamily="34" charset="0"/>
                </a:rPr>
                <a:t>X  Geothermal Heating and Cooling </a:t>
              </a:r>
            </a:p>
            <a:p>
              <a:pPr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r>
                <a:rPr lang="en-US" sz="1050" kern="0" dirty="0">
                  <a:solidFill>
                    <a:schemeClr val="accent3"/>
                  </a:solidFill>
                  <a:latin typeface="Verdana" pitchFamily="34" charset="0"/>
                </a:rPr>
                <a:t>    System @ Snow Bowl</a:t>
              </a:r>
            </a:p>
            <a:p>
              <a:pPr marL="171450" indent="-17145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ü"/>
                <a:defRPr/>
              </a:pPr>
              <a:r>
                <a:rPr lang="en-US" sz="1050" kern="0" dirty="0">
                  <a:solidFill>
                    <a:schemeClr val="accent3"/>
                  </a:solidFill>
                  <a:latin typeface="Verdana" pitchFamily="34" charset="0"/>
                </a:rPr>
                <a:t>Boiler Replacement @ Snow Bowl</a:t>
              </a:r>
            </a:p>
            <a:p>
              <a:pPr marL="171450" indent="-17145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ü"/>
                <a:defRPr/>
              </a:pPr>
              <a:r>
                <a:rPr lang="en-US" sz="1050" kern="0" dirty="0">
                  <a:solidFill>
                    <a:schemeClr val="accent3"/>
                  </a:solidFill>
                  <a:latin typeface="Verdana" pitchFamily="34" charset="0"/>
                </a:rPr>
                <a:t>Roof Replacement @ Opera House</a:t>
              </a:r>
            </a:p>
            <a:p>
              <a:pPr marL="171450" indent="-17145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ü"/>
                <a:defRPr/>
              </a:pPr>
              <a:endParaRPr lang="en-US" sz="1000" kern="0" dirty="0">
                <a:solidFill>
                  <a:schemeClr val="accent3"/>
                </a:solidFill>
                <a:latin typeface="Verdana" pitchFamily="34" charset="0"/>
              </a:endParaRPr>
            </a:p>
            <a:p>
              <a:pPr marR="0" lvl="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endParaRPr lang="en-US" sz="1000" kern="0" dirty="0">
                <a:solidFill>
                  <a:sysClr val="window" lastClr="FFFFFF"/>
                </a:solidFill>
                <a:latin typeface="Verdana" pitchFamily="34" charset="0"/>
              </a:endParaRPr>
            </a:p>
            <a:p>
              <a:pPr lvl="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" lastClr="FFFFFF"/>
                </a:solidFill>
                <a:latin typeface="+mj-lt"/>
              </a:endParaRPr>
            </a:p>
            <a:p>
              <a:pPr lvl="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" lastClr="FFFFFF"/>
                </a:solidFill>
                <a:latin typeface="+mj-lt"/>
              </a:endParaRPr>
            </a:p>
            <a:p>
              <a:pPr lvl="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defRPr/>
              </a:pPr>
              <a:endParaRPr lang="en-US" kern="0" dirty="0">
                <a:solidFill>
                  <a:sysClr val="window" lastClr="FFFFFF"/>
                </a:solidFill>
                <a:latin typeface="+mj-lt"/>
              </a:endParaRPr>
            </a:p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0000000-0008-0000-0000-000002000000}"/>
              </a:ext>
            </a:extLst>
          </p:cNvPr>
          <p:cNvGrpSpPr>
            <a:grpSpLocks/>
          </p:cNvGrpSpPr>
          <p:nvPr/>
        </p:nvGrpSpPr>
        <p:grpSpPr bwMode="auto">
          <a:xfrm>
            <a:off x="518555" y="1196752"/>
            <a:ext cx="3646228" cy="4528359"/>
            <a:chOff x="-1" y="0"/>
            <a:chExt cx="1139" cy="197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0000000-0008-0000-0000-000003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952" y="0"/>
              <a:ext cx="186" cy="1973"/>
            </a:xfrm>
            <a:prstGeom prst="rect">
              <a:avLst/>
            </a:prstGeom>
            <a:solidFill>
              <a:srgbClr val="EEECE1">
                <a:lumMod val="40000"/>
                <a:lumOff val="60000"/>
              </a:srgbClr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vert="eaVert"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OPTION 1 PROJECT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00000000-0008-0000-0000-000004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1" y="9"/>
              <a:ext cx="906" cy="272"/>
            </a:xfrm>
            <a:prstGeom prst="rect">
              <a:avLst/>
            </a:prstGeom>
            <a:solidFill>
              <a:srgbClr val="4BACC6">
                <a:lumMod val="60000"/>
                <a:lumOff val="40000"/>
              </a:srgbClr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Annual Contribution</a:t>
              </a:r>
              <a:endParaRPr lang="en-US" sz="1200" b="1" kern="0" dirty="0">
                <a:solidFill>
                  <a:srgbClr val="FFFFFF"/>
                </a:solidFill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Town = $79,000 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b="1" kern="0" dirty="0">
                  <a:solidFill>
                    <a:srgbClr val="FFFFFF"/>
                  </a:solidFill>
                  <a:latin typeface="Verdana" pitchFamily="34" charset="0"/>
                </a:rPr>
                <a:t>Library = $26,000</a:t>
              </a:r>
              <a:br>
                <a:rPr kumimoji="0" lang="en-US" sz="9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</a:b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0000000-0008-0000-0000-000005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03"/>
              <a:ext cx="905" cy="164"/>
            </a:xfrm>
            <a:prstGeom prst="rect">
              <a:avLst/>
            </a:prstGeom>
            <a:solidFill>
              <a:srgbClr val="0070C0"/>
            </a:solidFill>
            <a:ln w="12700">
              <a:solidFill>
                <a:sysClr val="windowText" lastClr="000000"/>
              </a:solidFill>
              <a:miter lim="800000"/>
              <a:headEnd/>
              <a:tailEnd/>
            </a:ln>
          </p:spPr>
          <p:txBody>
            <a:bodyPr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Energy &amp; Operational Savings 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$</a:t>
              </a:r>
              <a:r>
                <a:rPr lang="en-US" sz="1000" b="1" kern="0" dirty="0">
                  <a:solidFill>
                    <a:srgbClr val="FFFFFF"/>
                  </a:solidFill>
                  <a:latin typeface="Verdana" pitchFamily="34" charset="0"/>
                </a:rPr>
                <a:t>47,000 (22%)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00000000-0008-0000-0000-0000060000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81"/>
              <a:ext cx="906" cy="1486"/>
            </a:xfrm>
            <a:prstGeom prst="rect">
              <a:avLst/>
            </a:prstGeom>
            <a:gradFill rotWithShape="0">
              <a:gsLst>
                <a:gs pos="0">
                  <a:srgbClr val="4F81BD"/>
                </a:gs>
                <a:gs pos="100000">
                  <a:srgbClr val="4F81BD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 w="12700">
              <a:solidFill>
                <a:sysClr val="windowText" lastClr="000000"/>
              </a:solidFill>
              <a:miter lim="800000"/>
              <a:headEnd/>
              <a:tailEnd/>
            </a:ln>
            <a:effectLst/>
          </p:spPr>
          <p:txBody>
            <a:bodyPr wrap="square" lIns="90488" tIns="44450" rIns="90488" bIns="44450"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Option 1 Total Project Cost </a:t>
              </a: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+mn-cs"/>
                </a:rPr>
                <a:t>$2,308,000</a:t>
              </a:r>
            </a:p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kern="0" dirty="0">
                <a:solidFill>
                  <a:sysClr val="window" lastClr="FFFFFF"/>
                </a:solidFill>
                <a:latin typeface="Verdana" pitchFamily="34" charset="0"/>
              </a:endParaRP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Lighting Retrofit @ All Buildings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Lighting Controls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Parking Lot Lights @ Snow Bowl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Heat Pumps @ Public Safety &amp; Public Works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Basement Membrane @ Opera House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Building Weatherization @ All Buildings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Windows @ Snow Bowl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Attic Insulation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New Building Automation System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Boiler Replacement and Fuel Conversion @ Library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ysClr val="window" lastClr="FFFFFF"/>
                  </a:solidFill>
                  <a:latin typeface="Verdana" pitchFamily="34" charset="0"/>
                </a:rPr>
                <a:t>O2 Prime @ Library &amp; Town Office</a:t>
              </a:r>
            </a:p>
            <a:p>
              <a:pPr marL="171450" indent="-17145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Font typeface="Wingdings" panose="05000000000000000000" pitchFamily="2" charset="2"/>
                <a:buChar char="ü"/>
                <a:defRPr/>
              </a:pPr>
              <a:r>
                <a:rPr lang="en-US" sz="1050" kern="0" dirty="0">
                  <a:solidFill>
                    <a:schemeClr val="accent3"/>
                  </a:solidFill>
                  <a:latin typeface="Verdana" pitchFamily="34" charset="0"/>
                </a:rPr>
                <a:t>Geothermal Heating and Cooling System @ Snow Bowl</a:t>
              </a:r>
            </a:p>
            <a:p>
              <a:pPr marL="171450" marR="0" lvl="0" indent="-17145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n-US" sz="1050" kern="0" dirty="0">
                  <a:solidFill>
                    <a:schemeClr val="accent3"/>
                  </a:solidFill>
                  <a:latin typeface="Verdana" pitchFamily="34" charset="0"/>
                </a:rPr>
                <a:t>Roof Replacement @ Opera House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000" kern="0" dirty="0">
                <a:solidFill>
                  <a:sysClr val="window" lastClr="FFFFFF"/>
                </a:solidFill>
                <a:latin typeface="Verdana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  <a:p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555250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E8B673-139F-4B5E-983D-4C8294B9B64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12198350" cy="1439863"/>
          </a:xfrm>
        </p:spPr>
        <p:txBody>
          <a:bodyPr/>
          <a:lstStyle/>
          <a:p>
            <a:r>
              <a:rPr lang="en-US" dirty="0"/>
              <a:t>Carbon Reduction and Cost Savings Summary by Location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1B09D937-A41E-4A0F-BE74-6FA75BFCF6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52621436"/>
              </p:ext>
            </p:extLst>
          </p:nvPr>
        </p:nvGraphicFramePr>
        <p:xfrm>
          <a:off x="158515" y="836711"/>
          <a:ext cx="6444716" cy="5662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212A09C-C54D-41C3-AAB1-FBA6CB48B4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7752108"/>
              </p:ext>
            </p:extLst>
          </p:nvPr>
        </p:nvGraphicFramePr>
        <p:xfrm>
          <a:off x="5739135" y="836712"/>
          <a:ext cx="6614331" cy="56629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87871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5" name="Pentagon 4"/>
          <p:cNvSpPr/>
          <p:nvPr/>
        </p:nvSpPr>
        <p:spPr bwMode="auto">
          <a:xfrm>
            <a:off x="590563" y="3471435"/>
            <a:ext cx="4369774" cy="1122210"/>
          </a:xfrm>
          <a:prstGeom prst="homePlate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6" name="Chevron 5"/>
          <p:cNvSpPr/>
          <p:nvPr/>
        </p:nvSpPr>
        <p:spPr bwMode="auto">
          <a:xfrm>
            <a:off x="4515000" y="3471435"/>
            <a:ext cx="2664662" cy="1122210"/>
          </a:xfrm>
          <a:prstGeom prst="chevron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7" name="Chevron 6"/>
          <p:cNvSpPr/>
          <p:nvPr/>
        </p:nvSpPr>
        <p:spPr bwMode="auto">
          <a:xfrm>
            <a:off x="6722816" y="3471435"/>
            <a:ext cx="2688728" cy="1122210"/>
          </a:xfrm>
          <a:prstGeom prst="chevron">
            <a:avLst/>
          </a:prstGeom>
          <a:solidFill>
            <a:srgbClr val="B5005B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8" name="Chevron 7"/>
          <p:cNvSpPr/>
          <p:nvPr/>
        </p:nvSpPr>
        <p:spPr bwMode="auto">
          <a:xfrm>
            <a:off x="8943491" y="3471435"/>
            <a:ext cx="2808312" cy="1122210"/>
          </a:xfrm>
          <a:prstGeom prst="chevron">
            <a:avLst/>
          </a:prstGeom>
          <a:solidFill>
            <a:srgbClr val="2BA3BC"/>
          </a:solidFill>
          <a:ln>
            <a:noFill/>
          </a:ln>
          <a:effectLst/>
        </p:spPr>
        <p:txBody>
          <a:bodyPr wrap="square" lIns="108000" tIns="54000" rIns="108000" bIns="54000" numCol="1" spcCol="72000" rtlCol="0" anchor="ctr">
            <a:sp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53144" y="3835495"/>
            <a:ext cx="1378079" cy="40011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300" b="1" dirty="0">
                <a:solidFill>
                  <a:schemeClr val="bg1"/>
                </a:solidFill>
              </a:rPr>
              <a:t>Detailed </a:t>
            </a:r>
          </a:p>
          <a:p>
            <a:pPr algn="ctr">
              <a:spcBef>
                <a:spcPts val="0"/>
              </a:spcBef>
            </a:pPr>
            <a:r>
              <a:rPr lang="en-US" sz="1300" b="1" dirty="0">
                <a:solidFill>
                  <a:schemeClr val="bg1"/>
                </a:solidFill>
              </a:rPr>
              <a:t>Analysi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26569" y="3895906"/>
            <a:ext cx="4140458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300" b="1" dirty="0">
                <a:solidFill>
                  <a:schemeClr val="bg1"/>
                </a:solidFill>
              </a:rPr>
              <a:t>Preliminary  Analysi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329978" y="3898518"/>
            <a:ext cx="1721556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300" b="1" dirty="0">
                <a:solidFill>
                  <a:schemeClr val="bg1"/>
                </a:solidFill>
              </a:rPr>
              <a:t>Implement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411544" y="3935094"/>
            <a:ext cx="2197269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0"/>
              </a:spcBef>
            </a:pPr>
            <a:r>
              <a:rPr lang="en-US" sz="1300" b="1" dirty="0">
                <a:solidFill>
                  <a:schemeClr val="bg1"/>
                </a:solidFill>
              </a:rPr>
              <a:t>Guarantee Phas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2390704" y="2136046"/>
            <a:ext cx="113365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rgbClr val="006487"/>
                </a:solidFill>
              </a:rPr>
              <a:t>RFP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2519507" y="2567257"/>
            <a:ext cx="151567" cy="1125059"/>
            <a:chOff x="573327" y="2699350"/>
            <a:chExt cx="151567" cy="1125059"/>
          </a:xfrm>
        </p:grpSpPr>
        <p:cxnSp>
          <p:nvCxnSpPr>
            <p:cNvPr id="19" name="Straight Connector 18"/>
            <p:cNvCxnSpPr/>
            <p:nvPr/>
          </p:nvCxnSpPr>
          <p:spPr bwMode="auto">
            <a:xfrm>
              <a:off x="649110" y="2699350"/>
              <a:ext cx="0" cy="973491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6487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0" name="Oval 19"/>
            <p:cNvSpPr>
              <a:spLocks noChangeAspect="1"/>
            </p:cNvSpPr>
            <p:nvPr/>
          </p:nvSpPr>
          <p:spPr bwMode="auto">
            <a:xfrm>
              <a:off x="573327" y="3672841"/>
              <a:ext cx="151567" cy="151568"/>
            </a:xfrm>
            <a:prstGeom prst="ellipse">
              <a:avLst/>
            </a:prstGeom>
            <a:solidFill>
              <a:srgbClr val="FFFFFF"/>
            </a:solidFill>
            <a:ln w="28575" cmpd="sng">
              <a:solidFill>
                <a:srgbClr val="006487"/>
              </a:solidFill>
            </a:ln>
            <a:effec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138805" y="2698062"/>
            <a:ext cx="151567" cy="994254"/>
            <a:chOff x="573327" y="2830155"/>
            <a:chExt cx="151567" cy="994254"/>
          </a:xfrm>
        </p:grpSpPr>
        <p:cxnSp>
          <p:nvCxnSpPr>
            <p:cNvPr id="22" name="Straight Connector 21"/>
            <p:cNvCxnSpPr/>
            <p:nvPr/>
          </p:nvCxnSpPr>
          <p:spPr bwMode="auto">
            <a:xfrm>
              <a:off x="649110" y="2830155"/>
              <a:ext cx="0" cy="842686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Oval 22"/>
            <p:cNvSpPr>
              <a:spLocks noChangeAspect="1"/>
            </p:cNvSpPr>
            <p:nvPr/>
          </p:nvSpPr>
          <p:spPr bwMode="auto">
            <a:xfrm>
              <a:off x="573327" y="3672841"/>
              <a:ext cx="151567" cy="151568"/>
            </a:xfrm>
            <a:prstGeom prst="ellipse">
              <a:avLst/>
            </a:prstGeom>
            <a:solidFill>
              <a:srgbClr val="FFFFFF"/>
            </a:solidFill>
            <a:ln w="28575" cmpd="sng">
              <a:solidFill>
                <a:schemeClr val="accent3"/>
              </a:solidFill>
            </a:ln>
            <a:effec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24" name="Rectangle 23"/>
          <p:cNvSpPr/>
          <p:nvPr/>
        </p:nvSpPr>
        <p:spPr>
          <a:xfrm>
            <a:off x="4911810" y="2136046"/>
            <a:ext cx="244466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accent3"/>
                </a:solidFill>
              </a:rPr>
              <a:t>Letter of Intent</a:t>
            </a:r>
          </a:p>
          <a:p>
            <a:pPr>
              <a:spcBef>
                <a:spcPts val="0"/>
              </a:spcBef>
            </a:pPr>
            <a:r>
              <a:rPr lang="en-US" sz="1100" dirty="0">
                <a:solidFill>
                  <a:schemeClr val="accent3"/>
                </a:solidFill>
              </a:rPr>
              <a:t>(LOI)</a:t>
            </a:r>
          </a:p>
        </p:txBody>
      </p:sp>
      <p:cxnSp>
        <p:nvCxnSpPr>
          <p:cNvPr id="26" name="Straight Connector 25"/>
          <p:cNvCxnSpPr/>
          <p:nvPr/>
        </p:nvCxnSpPr>
        <p:spPr bwMode="auto">
          <a:xfrm>
            <a:off x="888670" y="4593645"/>
            <a:ext cx="0" cy="41287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00648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/>
          <p:nvPr/>
        </p:nvCxnSpPr>
        <p:spPr bwMode="auto">
          <a:xfrm>
            <a:off x="1980422" y="4593645"/>
            <a:ext cx="0" cy="41287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00648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Straight Connector 27"/>
          <p:cNvCxnSpPr/>
          <p:nvPr/>
        </p:nvCxnSpPr>
        <p:spPr bwMode="auto">
          <a:xfrm>
            <a:off x="3135687" y="4593645"/>
            <a:ext cx="0" cy="41287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00648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Straight Connector 28"/>
          <p:cNvCxnSpPr/>
          <p:nvPr/>
        </p:nvCxnSpPr>
        <p:spPr bwMode="auto">
          <a:xfrm>
            <a:off x="3974939" y="4593645"/>
            <a:ext cx="0" cy="41287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006487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Rectangle 29"/>
          <p:cNvSpPr/>
          <p:nvPr/>
        </p:nvSpPr>
        <p:spPr>
          <a:xfrm>
            <a:off x="471161" y="5032785"/>
            <a:ext cx="113365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dirty="0">
                <a:solidFill>
                  <a:srgbClr val="006487"/>
                </a:solidFill>
              </a:rPr>
              <a:t>Conceptional </a:t>
            </a:r>
          </a:p>
          <a:p>
            <a:pPr>
              <a:spcBef>
                <a:spcPts val="0"/>
              </a:spcBef>
            </a:pPr>
            <a:r>
              <a:rPr lang="en-US" sz="1000" dirty="0">
                <a:solidFill>
                  <a:srgbClr val="006487"/>
                </a:solidFill>
              </a:rPr>
              <a:t>Presentation</a:t>
            </a:r>
          </a:p>
        </p:txBody>
      </p:sp>
      <p:sp>
        <p:nvSpPr>
          <p:cNvPr id="31" name="Rectangle 30"/>
          <p:cNvSpPr/>
          <p:nvPr/>
        </p:nvSpPr>
        <p:spPr>
          <a:xfrm>
            <a:off x="1490663" y="5032785"/>
            <a:ext cx="139801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dirty="0">
                <a:solidFill>
                  <a:srgbClr val="006487"/>
                </a:solidFill>
              </a:rPr>
              <a:t>Feasibility Study Presentation</a:t>
            </a:r>
          </a:p>
        </p:txBody>
      </p:sp>
      <p:sp>
        <p:nvSpPr>
          <p:cNvPr id="32" name="Rectangle 31"/>
          <p:cNvSpPr/>
          <p:nvPr/>
        </p:nvSpPr>
        <p:spPr>
          <a:xfrm>
            <a:off x="2714799" y="5032785"/>
            <a:ext cx="103198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dirty="0">
                <a:solidFill>
                  <a:srgbClr val="006487"/>
                </a:solidFill>
              </a:rPr>
              <a:t>Preliminary </a:t>
            </a:r>
          </a:p>
          <a:p>
            <a:pPr>
              <a:spcBef>
                <a:spcPts val="0"/>
              </a:spcBef>
            </a:pPr>
            <a:r>
              <a:rPr lang="en-US" sz="1000" dirty="0">
                <a:solidFill>
                  <a:srgbClr val="006487"/>
                </a:solidFill>
              </a:rPr>
              <a:t>Audit</a:t>
            </a:r>
          </a:p>
        </p:txBody>
      </p:sp>
      <p:sp>
        <p:nvSpPr>
          <p:cNvPr id="33" name="Rectangle 32"/>
          <p:cNvSpPr/>
          <p:nvPr/>
        </p:nvSpPr>
        <p:spPr>
          <a:xfrm>
            <a:off x="3599926" y="5032785"/>
            <a:ext cx="11521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dirty="0">
                <a:solidFill>
                  <a:srgbClr val="006487"/>
                </a:solidFill>
              </a:rPr>
              <a:t>RFP </a:t>
            </a:r>
          </a:p>
          <a:p>
            <a:pPr>
              <a:spcBef>
                <a:spcPts val="0"/>
              </a:spcBef>
            </a:pPr>
            <a:r>
              <a:rPr lang="en-US" sz="1000" dirty="0">
                <a:solidFill>
                  <a:srgbClr val="006487"/>
                </a:solidFill>
              </a:rPr>
              <a:t>Response</a:t>
            </a:r>
          </a:p>
        </p:txBody>
      </p:sp>
      <p:cxnSp>
        <p:nvCxnSpPr>
          <p:cNvPr id="34" name="Straight Connector 33"/>
          <p:cNvCxnSpPr/>
          <p:nvPr/>
        </p:nvCxnSpPr>
        <p:spPr bwMode="auto">
          <a:xfrm>
            <a:off x="5811143" y="4567382"/>
            <a:ext cx="0" cy="41287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EB780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Rectangle 34"/>
          <p:cNvSpPr/>
          <p:nvPr/>
        </p:nvSpPr>
        <p:spPr>
          <a:xfrm>
            <a:off x="5173944" y="5006522"/>
            <a:ext cx="12849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dirty="0">
                <a:solidFill>
                  <a:srgbClr val="EB780A"/>
                </a:solidFill>
              </a:rPr>
              <a:t>Investment Grade Audit (IGA)</a:t>
            </a:r>
          </a:p>
        </p:txBody>
      </p:sp>
      <p:cxnSp>
        <p:nvCxnSpPr>
          <p:cNvPr id="36" name="Straight Connector 35"/>
          <p:cNvCxnSpPr/>
          <p:nvPr/>
        </p:nvCxnSpPr>
        <p:spPr bwMode="auto">
          <a:xfrm>
            <a:off x="8043391" y="4593645"/>
            <a:ext cx="0" cy="41287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B5005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Rectangle 36"/>
          <p:cNvSpPr/>
          <p:nvPr/>
        </p:nvSpPr>
        <p:spPr>
          <a:xfrm>
            <a:off x="7208839" y="5032785"/>
            <a:ext cx="16266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dirty="0">
                <a:solidFill>
                  <a:srgbClr val="B5005B"/>
                </a:solidFill>
              </a:rPr>
              <a:t>Planning, Installation, Project Management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7232546" y="2567257"/>
            <a:ext cx="151567" cy="1125059"/>
            <a:chOff x="573327" y="2699350"/>
            <a:chExt cx="151567" cy="1125059"/>
          </a:xfrm>
        </p:grpSpPr>
        <p:cxnSp>
          <p:nvCxnSpPr>
            <p:cNvPr id="39" name="Straight Connector 38"/>
            <p:cNvCxnSpPr/>
            <p:nvPr/>
          </p:nvCxnSpPr>
          <p:spPr bwMode="auto">
            <a:xfrm>
              <a:off x="649110" y="2699350"/>
              <a:ext cx="0" cy="973491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B5005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Oval 39"/>
            <p:cNvSpPr>
              <a:spLocks noChangeAspect="1"/>
            </p:cNvSpPr>
            <p:nvPr/>
          </p:nvSpPr>
          <p:spPr bwMode="auto">
            <a:xfrm>
              <a:off x="573327" y="3672841"/>
              <a:ext cx="151567" cy="151568"/>
            </a:xfrm>
            <a:prstGeom prst="ellipse">
              <a:avLst/>
            </a:prstGeom>
            <a:solidFill>
              <a:srgbClr val="FFFFFF"/>
            </a:solidFill>
            <a:ln w="28575" cmpd="sng">
              <a:solidFill>
                <a:srgbClr val="B5005B"/>
              </a:solidFill>
            </a:ln>
            <a:effec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41" name="Rectangle 40"/>
          <p:cNvSpPr/>
          <p:nvPr/>
        </p:nvSpPr>
        <p:spPr>
          <a:xfrm>
            <a:off x="6927267" y="2136046"/>
            <a:ext cx="113365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rgbClr val="B5005B"/>
                </a:solidFill>
              </a:rPr>
              <a:t>Contract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9500799" y="2893026"/>
            <a:ext cx="151567" cy="799290"/>
            <a:chOff x="573327" y="3025119"/>
            <a:chExt cx="151567" cy="799290"/>
          </a:xfrm>
        </p:grpSpPr>
        <p:cxnSp>
          <p:nvCxnSpPr>
            <p:cNvPr id="43" name="Straight Connector 42"/>
            <p:cNvCxnSpPr/>
            <p:nvPr/>
          </p:nvCxnSpPr>
          <p:spPr bwMode="auto">
            <a:xfrm>
              <a:off x="649110" y="3025119"/>
              <a:ext cx="0" cy="647722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2BA3BC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4" name="Oval 43"/>
            <p:cNvSpPr>
              <a:spLocks noChangeAspect="1"/>
            </p:cNvSpPr>
            <p:nvPr/>
          </p:nvSpPr>
          <p:spPr bwMode="auto">
            <a:xfrm>
              <a:off x="573327" y="3672841"/>
              <a:ext cx="151567" cy="151568"/>
            </a:xfrm>
            <a:prstGeom prst="ellipse">
              <a:avLst/>
            </a:prstGeom>
            <a:solidFill>
              <a:srgbClr val="FFFFFF"/>
            </a:solidFill>
            <a:ln w="28575" cmpd="sng">
              <a:solidFill>
                <a:srgbClr val="2BA3BC"/>
              </a:solidFill>
            </a:ln>
            <a:effectLst/>
          </p:spPr>
          <p:txBody>
            <a:bodyPr wrap="square" lIns="108000" tIns="54000" rIns="108000" bIns="54000" numCol="1" spcCol="72000" rtlCol="0" anchor="ctr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45" name="Rectangle 44"/>
          <p:cNvSpPr/>
          <p:nvPr/>
        </p:nvSpPr>
        <p:spPr>
          <a:xfrm>
            <a:off x="9195519" y="2136046"/>
            <a:ext cx="200604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100" dirty="0">
                <a:solidFill>
                  <a:srgbClr val="2BA3BC"/>
                </a:solidFill>
              </a:rPr>
              <a:t>Change of Usage, Consumption, Accounting.</a:t>
            </a:r>
          </a:p>
        </p:txBody>
      </p:sp>
      <p:cxnSp>
        <p:nvCxnSpPr>
          <p:cNvPr id="46" name="Straight Connector 45"/>
          <p:cNvCxnSpPr/>
          <p:nvPr/>
        </p:nvCxnSpPr>
        <p:spPr bwMode="auto">
          <a:xfrm>
            <a:off x="10353276" y="4576752"/>
            <a:ext cx="0" cy="412877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rgbClr val="2BA3B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7" name="Rectangle 46"/>
          <p:cNvSpPr/>
          <p:nvPr/>
        </p:nvSpPr>
        <p:spPr>
          <a:xfrm>
            <a:off x="9928349" y="5015892"/>
            <a:ext cx="15944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en-US" sz="1000" dirty="0">
                <a:solidFill>
                  <a:srgbClr val="2BA3BC"/>
                </a:solidFill>
              </a:rPr>
              <a:t>Investment Grade Audit (IGA)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6535269" y="1711539"/>
            <a:ext cx="1557063" cy="353943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lIns="91440" tIns="91440" rIns="91440" bIns="9144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sz="1200" b="1" dirty="0">
                <a:solidFill>
                  <a:schemeClr val="bg1"/>
                </a:solidFill>
              </a:rPr>
              <a:t>WE ARE HERE</a:t>
            </a:r>
          </a:p>
        </p:txBody>
      </p:sp>
      <p:pic>
        <p:nvPicPr>
          <p:cNvPr id="52" name="Picture 51" descr="handshake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09697" y="2537283"/>
            <a:ext cx="797263" cy="797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5300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1483520" y="1028700"/>
            <a:ext cx="9144000" cy="47986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2"/>
          <p:cNvSpPr/>
          <p:nvPr/>
        </p:nvSpPr>
        <p:spPr bwMode="auto">
          <a:xfrm>
            <a:off x="1570830" y="1162987"/>
            <a:ext cx="4427982" cy="210496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b="1" dirty="0" err="1">
              <a:solidFill>
                <a:schemeClr val="tx1"/>
              </a:solidFill>
            </a:endParaRPr>
          </a:p>
        </p:txBody>
      </p:sp>
      <p:pic>
        <p:nvPicPr>
          <p:cNvPr id="17" name="Picture 16" descr="sie_logo_petrol_rgb_L.bmp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5311" y="3846990"/>
            <a:ext cx="1412240" cy="22352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1654471" y="1307528"/>
            <a:ext cx="399701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latin typeface="Verdana" pitchFamily="34" charset="0"/>
              </a:rPr>
              <a:t>Denny Webber</a:t>
            </a:r>
          </a:p>
          <a:p>
            <a:pPr eaLnBrk="0" hangingPunct="0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</a:rPr>
              <a:t>Market Manager ME &amp; NH</a:t>
            </a:r>
          </a:p>
          <a:p>
            <a:pPr eaLnBrk="0" hangingPunct="0">
              <a:spcBef>
                <a:spcPts val="0"/>
              </a:spcBef>
            </a:pPr>
            <a:r>
              <a:rPr lang="en-US" sz="1600" b="1" i="1" dirty="0">
                <a:solidFill>
                  <a:schemeClr val="tx1"/>
                </a:solidFill>
                <a:latin typeface="Verdana" pitchFamily="34" charset="0"/>
              </a:rPr>
              <a:t>Energy Performance Services</a:t>
            </a:r>
          </a:p>
          <a:p>
            <a:pPr eaLnBrk="0" hangingPunct="0">
              <a:spcBef>
                <a:spcPts val="0"/>
              </a:spcBef>
            </a:pPr>
            <a:r>
              <a:rPr lang="en-US" sz="1600" b="1" i="1" dirty="0">
                <a:solidFill>
                  <a:schemeClr val="tx1"/>
                </a:solidFill>
                <a:latin typeface="Verdana" pitchFamily="34" charset="0"/>
              </a:rPr>
              <a:t>Smart Infrastructure </a:t>
            </a:r>
          </a:p>
          <a:p>
            <a:pPr eaLnBrk="0" hangingPunct="0"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latin typeface="Verdana" pitchFamily="34" charset="0"/>
            </a:endParaRPr>
          </a:p>
          <a:p>
            <a:pPr eaLnBrk="0" hangingPunct="0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</a:rPr>
              <a:t>207-205-9149 mobile</a:t>
            </a:r>
          </a:p>
          <a:p>
            <a:pPr eaLnBrk="0" hangingPunct="0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</a:rPr>
              <a:t>Denny.Webber@siemens.com</a:t>
            </a:r>
          </a:p>
        </p:txBody>
      </p:sp>
      <p:grpSp>
        <p:nvGrpSpPr>
          <p:cNvPr id="7" name="Group 33">
            <a:extLst>
              <a:ext uri="{FF2B5EF4-FFF2-40B4-BE49-F238E27FC236}">
                <a16:creationId xmlns:a16="http://schemas.microsoft.com/office/drawing/2014/main" id="{815BBA58-14C6-E944-A72C-9663388D3B2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618663" y="60488"/>
            <a:ext cx="2159000" cy="914400"/>
            <a:chOff x="6019" y="204"/>
            <a:chExt cx="1360" cy="576"/>
          </a:xfrm>
        </p:grpSpPr>
        <p:sp>
          <p:nvSpPr>
            <p:cNvPr id="8" name="AutoShape 32">
              <a:extLst>
                <a:ext uri="{FF2B5EF4-FFF2-40B4-BE49-F238E27FC236}">
                  <a16:creationId xmlns:a16="http://schemas.microsoft.com/office/drawing/2014/main" id="{3CC923CD-F98F-1042-ABDB-72EC07D2FC63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>
              <a:extLst>
                <a:ext uri="{FF2B5EF4-FFF2-40B4-BE49-F238E27FC236}">
                  <a16:creationId xmlns:a16="http://schemas.microsoft.com/office/drawing/2014/main" id="{B8B6CFB7-43C3-C343-B674-4DA1B2E551B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>
              <a:extLst>
                <a:ext uri="{FF2B5EF4-FFF2-40B4-BE49-F238E27FC236}">
                  <a16:creationId xmlns:a16="http://schemas.microsoft.com/office/drawing/2014/main" id="{778EB49F-85E1-244D-AC61-3E2D2F5F46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>
              <a:extLst>
                <a:ext uri="{FF2B5EF4-FFF2-40B4-BE49-F238E27FC236}">
                  <a16:creationId xmlns:a16="http://schemas.microsoft.com/office/drawing/2014/main" id="{11FEBF88-4F93-424E-A1F9-9580A0F749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>
              <a:extLst>
                <a:ext uri="{FF2B5EF4-FFF2-40B4-BE49-F238E27FC236}">
                  <a16:creationId xmlns:a16="http://schemas.microsoft.com/office/drawing/2014/main" id="{F1D05C91-26FC-2942-B659-EAD49E4F17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8">
              <a:extLst>
                <a:ext uri="{FF2B5EF4-FFF2-40B4-BE49-F238E27FC236}">
                  <a16:creationId xmlns:a16="http://schemas.microsoft.com/office/drawing/2014/main" id="{D6B63631-C72C-C847-ABAC-E8751091B5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9">
              <a:extLst>
                <a:ext uri="{FF2B5EF4-FFF2-40B4-BE49-F238E27FC236}">
                  <a16:creationId xmlns:a16="http://schemas.microsoft.com/office/drawing/2014/main" id="{C2C851C9-EF54-BF48-BC03-A05C6B2832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0">
              <a:extLst>
                <a:ext uri="{FF2B5EF4-FFF2-40B4-BE49-F238E27FC236}">
                  <a16:creationId xmlns:a16="http://schemas.microsoft.com/office/drawing/2014/main" id="{8F16F186-61C0-0A49-A542-9EF4FEAF11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1">
              <a:extLst>
                <a:ext uri="{FF2B5EF4-FFF2-40B4-BE49-F238E27FC236}">
                  <a16:creationId xmlns:a16="http://schemas.microsoft.com/office/drawing/2014/main" id="{329D2CF4-A98B-B249-A57F-A7D970FB76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2">
              <a:extLst>
                <a:ext uri="{FF2B5EF4-FFF2-40B4-BE49-F238E27FC236}">
                  <a16:creationId xmlns:a16="http://schemas.microsoft.com/office/drawing/2014/main" id="{78600FC8-1C45-B94C-AF75-81F5E059C1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3">
              <a:extLst>
                <a:ext uri="{FF2B5EF4-FFF2-40B4-BE49-F238E27FC236}">
                  <a16:creationId xmlns:a16="http://schemas.microsoft.com/office/drawing/2014/main" id="{0B50441E-8716-304B-8185-DADCDDF6A8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4">
              <a:extLst>
                <a:ext uri="{FF2B5EF4-FFF2-40B4-BE49-F238E27FC236}">
                  <a16:creationId xmlns:a16="http://schemas.microsoft.com/office/drawing/2014/main" id="{412DCD05-BCC0-F04B-90D6-108562207B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5">
              <a:extLst>
                <a:ext uri="{FF2B5EF4-FFF2-40B4-BE49-F238E27FC236}">
                  <a16:creationId xmlns:a16="http://schemas.microsoft.com/office/drawing/2014/main" id="{8B1110A5-BD8D-DD49-8CAE-040AA2CA5E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6">
              <a:extLst>
                <a:ext uri="{FF2B5EF4-FFF2-40B4-BE49-F238E27FC236}">
                  <a16:creationId xmlns:a16="http://schemas.microsoft.com/office/drawing/2014/main" id="{D04D7D56-5504-E64C-8DA9-7474D9515A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7">
              <a:extLst>
                <a:ext uri="{FF2B5EF4-FFF2-40B4-BE49-F238E27FC236}">
                  <a16:creationId xmlns:a16="http://schemas.microsoft.com/office/drawing/2014/main" id="{399998D4-4798-944D-B5CD-4EAFE64943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8">
              <a:extLst>
                <a:ext uri="{FF2B5EF4-FFF2-40B4-BE49-F238E27FC236}">
                  <a16:creationId xmlns:a16="http://schemas.microsoft.com/office/drawing/2014/main" id="{C0A336C0-872A-D74F-BB04-3E5E30BC05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9">
              <a:extLst>
                <a:ext uri="{FF2B5EF4-FFF2-40B4-BE49-F238E27FC236}">
                  <a16:creationId xmlns:a16="http://schemas.microsoft.com/office/drawing/2014/main" id="{D449F626-6004-B24E-BFB3-380540F5BE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0">
              <a:extLst>
                <a:ext uri="{FF2B5EF4-FFF2-40B4-BE49-F238E27FC236}">
                  <a16:creationId xmlns:a16="http://schemas.microsoft.com/office/drawing/2014/main" id="{09DD061F-43CA-084D-A95C-9696FB1A84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1">
              <a:extLst>
                <a:ext uri="{FF2B5EF4-FFF2-40B4-BE49-F238E27FC236}">
                  <a16:creationId xmlns:a16="http://schemas.microsoft.com/office/drawing/2014/main" id="{061A711A-9224-A240-B427-2F7F2D154F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2">
              <a:extLst>
                <a:ext uri="{FF2B5EF4-FFF2-40B4-BE49-F238E27FC236}">
                  <a16:creationId xmlns:a16="http://schemas.microsoft.com/office/drawing/2014/main" id="{611F4EE8-6CD0-164F-BEB3-9B01372EBA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3">
              <a:extLst>
                <a:ext uri="{FF2B5EF4-FFF2-40B4-BE49-F238E27FC236}">
                  <a16:creationId xmlns:a16="http://schemas.microsoft.com/office/drawing/2014/main" id="{E19365FA-A7B2-BF49-AEF8-1DE933D94E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4">
              <a:extLst>
                <a:ext uri="{FF2B5EF4-FFF2-40B4-BE49-F238E27FC236}">
                  <a16:creationId xmlns:a16="http://schemas.microsoft.com/office/drawing/2014/main" id="{1CEDC17E-488E-974D-AF2D-8DD71AB00E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5">
              <a:extLst>
                <a:ext uri="{FF2B5EF4-FFF2-40B4-BE49-F238E27FC236}">
                  <a16:creationId xmlns:a16="http://schemas.microsoft.com/office/drawing/2014/main" id="{E14C35D8-FD7F-DD49-A1FE-46D3DBFD4E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6">
              <a:extLst>
                <a:ext uri="{FF2B5EF4-FFF2-40B4-BE49-F238E27FC236}">
                  <a16:creationId xmlns:a16="http://schemas.microsoft.com/office/drawing/2014/main" id="{3CE91D3A-6366-B741-A37B-7DAA7BF2C8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7">
              <a:extLst>
                <a:ext uri="{FF2B5EF4-FFF2-40B4-BE49-F238E27FC236}">
                  <a16:creationId xmlns:a16="http://schemas.microsoft.com/office/drawing/2014/main" id="{C13D41BB-3E06-5E45-A3E1-C17784C5D7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8">
              <a:extLst>
                <a:ext uri="{FF2B5EF4-FFF2-40B4-BE49-F238E27FC236}">
                  <a16:creationId xmlns:a16="http://schemas.microsoft.com/office/drawing/2014/main" id="{D77AEB49-CAAD-BE46-89FE-A88CFE0D5A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9">
              <a:extLst>
                <a:ext uri="{FF2B5EF4-FFF2-40B4-BE49-F238E27FC236}">
                  <a16:creationId xmlns:a16="http://schemas.microsoft.com/office/drawing/2014/main" id="{F45A10EF-98E4-EF4A-85AD-EA8B72B2F1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9" name="Rectangle 38">
            <a:extLst>
              <a:ext uri="{FF2B5EF4-FFF2-40B4-BE49-F238E27FC236}">
                <a16:creationId xmlns:a16="http://schemas.microsoft.com/office/drawing/2014/main" id="{0016A845-D30C-4613-976D-3954A908226E}"/>
              </a:ext>
            </a:extLst>
          </p:cNvPr>
          <p:cNvSpPr/>
          <p:nvPr/>
        </p:nvSpPr>
        <p:spPr bwMode="auto">
          <a:xfrm>
            <a:off x="6082453" y="1162987"/>
            <a:ext cx="4427982" cy="210496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eaLnBrk="0" hangingPunct="0"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latin typeface="Verdana" pitchFamily="34" charset="0"/>
              </a:rPr>
              <a:t>Elmer Arbogast</a:t>
            </a:r>
          </a:p>
          <a:p>
            <a:pPr eaLnBrk="0" hangingPunct="0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</a:rPr>
              <a:t>Energy Engineer ME &amp; NH</a:t>
            </a:r>
          </a:p>
          <a:p>
            <a:pPr eaLnBrk="0" hangingPunct="0">
              <a:spcBef>
                <a:spcPts val="0"/>
              </a:spcBef>
            </a:pPr>
            <a:r>
              <a:rPr lang="en-US" sz="1600" b="1" i="1" dirty="0">
                <a:solidFill>
                  <a:schemeClr val="tx1"/>
                </a:solidFill>
                <a:latin typeface="Verdana" pitchFamily="34" charset="0"/>
              </a:rPr>
              <a:t>Energy Performance Services</a:t>
            </a:r>
          </a:p>
          <a:p>
            <a:pPr eaLnBrk="0" hangingPunct="0">
              <a:spcBef>
                <a:spcPts val="0"/>
              </a:spcBef>
            </a:pPr>
            <a:r>
              <a:rPr lang="en-US" sz="1600" b="1" i="1" dirty="0">
                <a:solidFill>
                  <a:schemeClr val="tx1"/>
                </a:solidFill>
                <a:latin typeface="Verdana" pitchFamily="34" charset="0"/>
              </a:rPr>
              <a:t>Smart Infrastructure </a:t>
            </a:r>
          </a:p>
          <a:p>
            <a:pPr eaLnBrk="0" hangingPunct="0"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latin typeface="Verdana" pitchFamily="34" charset="0"/>
            </a:endParaRPr>
          </a:p>
          <a:p>
            <a:pPr eaLnBrk="0" hangingPunct="0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</a:rPr>
              <a:t>207-205-5954 mobile</a:t>
            </a:r>
          </a:p>
          <a:p>
            <a:pPr eaLnBrk="0" hangingPunct="0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</a:rPr>
              <a:t>Elmer.Arbogast@siemens.com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E10729A-AB40-49C3-87EF-3439B4E83448}"/>
              </a:ext>
            </a:extLst>
          </p:cNvPr>
          <p:cNvSpPr/>
          <p:nvPr/>
        </p:nvSpPr>
        <p:spPr bwMode="auto">
          <a:xfrm>
            <a:off x="1570830" y="3412493"/>
            <a:ext cx="4427982" cy="210496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eaLnBrk="0" hangingPunct="0"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latin typeface="Verdana" pitchFamily="34" charset="0"/>
              </a:rPr>
              <a:t>Colleen Fissette</a:t>
            </a:r>
          </a:p>
          <a:p>
            <a:pPr eaLnBrk="0" hangingPunct="0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</a:rPr>
              <a:t>Energy Engineer ME &amp; NH</a:t>
            </a:r>
          </a:p>
          <a:p>
            <a:pPr eaLnBrk="0" hangingPunct="0">
              <a:spcBef>
                <a:spcPts val="0"/>
              </a:spcBef>
            </a:pPr>
            <a:r>
              <a:rPr lang="en-US" sz="1600" b="1" i="1" dirty="0">
                <a:solidFill>
                  <a:schemeClr val="tx1"/>
                </a:solidFill>
                <a:latin typeface="Verdana" pitchFamily="34" charset="0"/>
              </a:rPr>
              <a:t>Energy Performance Services</a:t>
            </a:r>
          </a:p>
          <a:p>
            <a:pPr eaLnBrk="0" hangingPunct="0">
              <a:spcBef>
                <a:spcPts val="0"/>
              </a:spcBef>
            </a:pPr>
            <a:r>
              <a:rPr lang="en-US" sz="1600" b="1" i="1" dirty="0">
                <a:solidFill>
                  <a:schemeClr val="tx1"/>
                </a:solidFill>
                <a:latin typeface="Verdana" pitchFamily="34" charset="0"/>
              </a:rPr>
              <a:t>Smart Infrastructure </a:t>
            </a:r>
          </a:p>
          <a:p>
            <a:pPr eaLnBrk="0" hangingPunct="0"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latin typeface="Verdana" pitchFamily="34" charset="0"/>
            </a:endParaRPr>
          </a:p>
          <a:p>
            <a:pPr eaLnBrk="0" hangingPunct="0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</a:rPr>
              <a:t>781-738-7147 mobile</a:t>
            </a:r>
          </a:p>
          <a:p>
            <a:pPr eaLnBrk="0" hangingPunct="0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latin typeface="Verdana" pitchFamily="34" charset="0"/>
              </a:rPr>
              <a:t>Colleen.Fissette@siemens.com</a:t>
            </a:r>
          </a:p>
        </p:txBody>
      </p:sp>
    </p:spTree>
    <p:extLst>
      <p:ext uri="{BB962C8B-B14F-4D97-AF65-F5344CB8AC3E}">
        <p14:creationId xmlns:p14="http://schemas.microsoft.com/office/powerpoint/2010/main" val="14507679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007028" y="1298779"/>
            <a:ext cx="823259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Utilizing Energy Performance Contracting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Turnkey design/build project approach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/>
                </a:solidFill>
              </a:rPr>
              <a:t>Guaranteed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b="1" dirty="0">
                <a:solidFill>
                  <a:schemeClr val="tx1"/>
                </a:solidFill>
              </a:rPr>
              <a:t>energy saving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/>
                </a:solidFill>
              </a:rPr>
              <a:t>No Change Orders</a:t>
            </a:r>
            <a:endParaRPr lang="en-US" dirty="0">
              <a:solidFill>
                <a:schemeClr val="tx1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Comprehensive energy efficiency measures</a:t>
            </a:r>
          </a:p>
          <a:p>
            <a:pPr marL="344487" lvl="1" indent="0">
              <a:buNone/>
            </a:pP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Comprehensive Program for the Town of Camde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dentify potential improvements to existing facilit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Guaranteed savings to help fund the projec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Leverage utility provided rebat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Financing term consistent with long-term contract with ESCO (Siemens)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74B39CB-FA55-CF44-AADA-97382F6ED3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8350" cy="1440000"/>
          </a:xfrm>
        </p:spPr>
        <p:txBody>
          <a:bodyPr/>
          <a:lstStyle/>
          <a:p>
            <a:r>
              <a:rPr lang="en-US" dirty="0">
                <a:solidFill>
                  <a:srgbClr val="28636B"/>
                </a:solidFill>
              </a:rPr>
              <a:t>Background: Town of Camden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05D068B-A009-D145-BAEC-5BC9412AABB3}"/>
              </a:ext>
            </a:extLst>
          </p:cNvPr>
          <p:cNvCxnSpPr>
            <a:cxnSpLocks/>
          </p:cNvCxnSpPr>
          <p:nvPr/>
        </p:nvCxnSpPr>
        <p:spPr bwMode="auto">
          <a:xfrm>
            <a:off x="1706687" y="1539233"/>
            <a:ext cx="0" cy="4043408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359280625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tal Energy Management is </a:t>
            </a:r>
            <a:br>
              <a:rPr lang="en-US" dirty="0"/>
            </a:br>
            <a:r>
              <a:rPr lang="en-US" dirty="0"/>
              <a:t>Where Best Practices Intersect</a:t>
            </a:r>
          </a:p>
        </p:txBody>
      </p:sp>
      <p:sp>
        <p:nvSpPr>
          <p:cNvPr id="27" name="Rectangle 26"/>
          <p:cNvSpPr/>
          <p:nvPr>
            <p:custDataLst>
              <p:tags r:id="rId1"/>
            </p:custDataLst>
          </p:nvPr>
        </p:nvSpPr>
        <p:spPr bwMode="auto">
          <a:xfrm>
            <a:off x="1418655" y="1866291"/>
            <a:ext cx="2579370" cy="1886745"/>
          </a:xfrm>
          <a:prstGeom prst="rect">
            <a:avLst/>
          </a:prstGeom>
          <a:noFill/>
          <a:ln w="3175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44040" tIns="72020" rIns="144040" bIns="72020" numCol="1" spcCol="96026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500" b="1" dirty="0">
                <a:solidFill>
                  <a:srgbClr val="EA780A"/>
                </a:solidFill>
              </a:rPr>
              <a:t>Reduce: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500" b="1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tx1"/>
                </a:solidFill>
              </a:rPr>
              <a:t>Drive down energy consumption in order to reduce costs and the environmental impact of your organization.</a:t>
            </a:r>
          </a:p>
          <a:p>
            <a:pPr marL="344488" lvl="1" indent="-225425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SzPct val="100000"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7827735" y="1862469"/>
            <a:ext cx="3348004" cy="1602535"/>
          </a:xfrm>
          <a:prstGeom prst="rect">
            <a:avLst/>
          </a:prstGeom>
          <a:noFill/>
          <a:ln w="3175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44040" tIns="72020" rIns="144040" bIns="72020" numCol="1" spcCol="96026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500" b="1" dirty="0">
                <a:solidFill>
                  <a:srgbClr val="004765"/>
                </a:solidFill>
              </a:rPr>
              <a:t>Data-Driven Optimization: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500" b="1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tx1"/>
                </a:solidFill>
              </a:rPr>
              <a:t>Continuously analyze and optimize your building(s) and the improvement actions you’ve taken to be more precise and effective with your investment decisions.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100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7843085" y="3238121"/>
            <a:ext cx="3404662" cy="1078774"/>
          </a:xfrm>
          <a:prstGeom prst="rect">
            <a:avLst/>
          </a:prstGeom>
          <a:noFill/>
          <a:ln w="3175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44040" tIns="72020" rIns="144040" bIns="72020" numCol="1" spcCol="96026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500" b="1" dirty="0">
                <a:solidFill>
                  <a:srgbClr val="EA780A"/>
                </a:solidFill>
              </a:rPr>
              <a:t>Procure: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500" b="1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tx1"/>
                </a:solidFill>
              </a:rPr>
              <a:t>Manage the energy purchasing process </a:t>
            </a:r>
            <a:br>
              <a:rPr lang="en-US" sz="1100" dirty="0">
                <a:solidFill>
                  <a:schemeClr val="tx1"/>
                </a:solidFill>
              </a:rPr>
            </a:br>
            <a:r>
              <a:rPr lang="en-US" sz="1100" dirty="0">
                <a:solidFill>
                  <a:schemeClr val="tx1"/>
                </a:solidFill>
              </a:rPr>
              <a:t>as a way to lower total energy spend, mitigate risks, and meet sustainability targets.</a:t>
            </a:r>
          </a:p>
        </p:txBody>
      </p:sp>
      <p:sp>
        <p:nvSpPr>
          <p:cNvPr id="41" name="Rectangle 40"/>
          <p:cNvSpPr/>
          <p:nvPr/>
        </p:nvSpPr>
        <p:spPr bwMode="auto">
          <a:xfrm>
            <a:off x="1418655" y="3238121"/>
            <a:ext cx="2579369" cy="1078776"/>
          </a:xfrm>
          <a:prstGeom prst="rect">
            <a:avLst/>
          </a:prstGeom>
          <a:noFill/>
          <a:ln w="3175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44040" tIns="72020" rIns="144040" bIns="72020" numCol="1" spcCol="96026" rtlCol="0" anchor="t">
            <a:noAutofit/>
          </a:bodyPr>
          <a:lstStyle/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500" b="1" dirty="0">
                <a:solidFill>
                  <a:srgbClr val="EA780A"/>
                </a:solidFill>
              </a:rPr>
              <a:t>Produce:</a:t>
            </a: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500" b="1" dirty="0">
              <a:solidFill>
                <a:schemeClr val="tx1"/>
              </a:solidFill>
            </a:endParaRPr>
          </a:p>
          <a:p>
            <a:pPr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r>
              <a:rPr lang="en-US" sz="1100" dirty="0">
                <a:solidFill>
                  <a:schemeClr val="tx1"/>
                </a:solidFill>
              </a:rPr>
              <a:t>Generate and store energy on-site so that you are less reliant on the grid and have a more sustainable energy-mix.</a:t>
            </a:r>
          </a:p>
          <a:p>
            <a:pPr marL="344488" lvl="1" indent="-225425">
              <a:lnSpc>
                <a:spcPct val="110000"/>
              </a:lnSpc>
              <a:spcBef>
                <a:spcPct val="0"/>
              </a:spcBef>
              <a:buClr>
                <a:schemeClr val="accent1"/>
              </a:buClr>
              <a:buSzPct val="100000"/>
              <a:buFont typeface="Wingdings" pitchFamily="2" charset="2"/>
              <a:buChar char="ü"/>
            </a:pPr>
            <a:endParaRPr lang="en-US" sz="1100" dirty="0">
              <a:solidFill>
                <a:schemeClr val="tx1"/>
              </a:solidFill>
            </a:endParaRPr>
          </a:p>
        </p:txBody>
      </p:sp>
      <p:grpSp>
        <p:nvGrpSpPr>
          <p:cNvPr id="49" name="Group 48"/>
          <p:cNvGrpSpPr/>
          <p:nvPr/>
        </p:nvGrpSpPr>
        <p:grpSpPr>
          <a:xfrm>
            <a:off x="3705789" y="1160748"/>
            <a:ext cx="4118676" cy="4032449"/>
            <a:chOff x="3705789" y="1365573"/>
            <a:chExt cx="4118676" cy="4032449"/>
          </a:xfrm>
        </p:grpSpPr>
        <p:sp>
          <p:nvSpPr>
            <p:cNvPr id="6" name="TextBox 5"/>
            <p:cNvSpPr txBox="1"/>
            <p:nvPr/>
          </p:nvSpPr>
          <p:spPr>
            <a:xfrm>
              <a:off x="4097064" y="1935920"/>
              <a:ext cx="3317819" cy="30740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010101010110101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0101010101010100101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01010110101010101010101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0100101010101010101010</a:t>
              </a:r>
              <a:b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</a:br>
              <a: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01010101010101010101010101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0101010110101010101010101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01001010101010101010101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0101010101010101010101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01010101010101010101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01010101010101010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600" dirty="0">
                  <a:solidFill>
                    <a:srgbClr val="E8EDEF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010101010</a:t>
              </a:r>
            </a:p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endParaRPr lang="en-US" sz="1600" dirty="0">
                <a:solidFill>
                  <a:srgbClr val="E8EDEF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1" name="Circular Arrow 10"/>
            <p:cNvSpPr/>
            <p:nvPr/>
          </p:nvSpPr>
          <p:spPr bwMode="auto">
            <a:xfrm rot="14708902">
              <a:off x="3764216" y="1363274"/>
              <a:ext cx="3976322" cy="4093173"/>
            </a:xfrm>
            <a:prstGeom prst="circularArrow">
              <a:avLst>
                <a:gd name="adj1" fmla="val 7853"/>
                <a:gd name="adj2" fmla="val 1142319"/>
                <a:gd name="adj3" fmla="val 19391711"/>
                <a:gd name="adj4" fmla="val 12490110"/>
                <a:gd name="adj5" fmla="val 12500"/>
              </a:avLst>
            </a:prstGeom>
            <a:solidFill>
              <a:srgbClr val="9AC6D6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2" name="Circular Arrow 11"/>
            <p:cNvSpPr/>
            <p:nvPr/>
          </p:nvSpPr>
          <p:spPr bwMode="auto">
            <a:xfrm rot="7166261">
              <a:off x="3788339" y="1353593"/>
              <a:ext cx="3976322" cy="4093173"/>
            </a:xfrm>
            <a:prstGeom prst="circularArrow">
              <a:avLst>
                <a:gd name="adj1" fmla="val 7853"/>
                <a:gd name="adj2" fmla="val 1142319"/>
                <a:gd name="adj3" fmla="val 19391711"/>
                <a:gd name="adj4" fmla="val 12490110"/>
                <a:gd name="adj5" fmla="val 12453"/>
              </a:avLst>
            </a:prstGeom>
            <a:solidFill>
              <a:srgbClr val="55A0B9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" name="Circular Arrow 12"/>
            <p:cNvSpPr/>
            <p:nvPr/>
          </p:nvSpPr>
          <p:spPr bwMode="auto">
            <a:xfrm>
              <a:off x="3731292" y="1365573"/>
              <a:ext cx="4093173" cy="3976322"/>
            </a:xfrm>
            <a:prstGeom prst="circularArrow">
              <a:avLst>
                <a:gd name="adj1" fmla="val 7853"/>
                <a:gd name="adj2" fmla="val 1142319"/>
                <a:gd name="adj3" fmla="val 19391711"/>
                <a:gd name="adj4" fmla="val 12490110"/>
                <a:gd name="adj5" fmla="val 12500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accent5">
                    <a:lumMod val="75000"/>
                  </a:schemeClr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" name="Circular Arrow 13"/>
            <p:cNvSpPr/>
            <p:nvPr/>
          </p:nvSpPr>
          <p:spPr bwMode="auto">
            <a:xfrm rot="14708902">
              <a:off x="3764215" y="1363272"/>
              <a:ext cx="3976322" cy="4093173"/>
            </a:xfrm>
            <a:prstGeom prst="circularArrow">
              <a:avLst>
                <a:gd name="adj1" fmla="val 7853"/>
                <a:gd name="adj2" fmla="val 1142319"/>
                <a:gd name="adj3" fmla="val 19391711"/>
                <a:gd name="adj4" fmla="val 13473093"/>
                <a:gd name="adj5" fmla="val 12500"/>
              </a:avLst>
            </a:prstGeom>
            <a:solidFill>
              <a:srgbClr val="9AC6D6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782282" y="1808820"/>
              <a:ext cx="2014390" cy="415838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7241387">
              <a:off x="5991850" y="3882360"/>
              <a:ext cx="1956884" cy="428058"/>
            </a:xfrm>
            <a:prstGeom prst="rect">
              <a:avLst/>
            </a:prstGeom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 rot="14519610">
              <a:off x="3578166" y="3834494"/>
              <a:ext cx="1956884" cy="428058"/>
            </a:xfrm>
            <a:prstGeom prst="rect">
              <a:avLst/>
            </a:prstGeom>
          </p:spPr>
        </p:pic>
        <p:grpSp>
          <p:nvGrpSpPr>
            <p:cNvPr id="15" name="Group 13"/>
            <p:cNvGrpSpPr>
              <a:grpSpLocks/>
            </p:cNvGrpSpPr>
            <p:nvPr/>
          </p:nvGrpSpPr>
          <p:grpSpPr>
            <a:xfrm>
              <a:off x="5175572" y="2234175"/>
              <a:ext cx="1188720" cy="1188720"/>
              <a:chOff x="4875039" y="2204862"/>
              <a:chExt cx="1800200" cy="1823199"/>
            </a:xfrm>
          </p:grpSpPr>
          <p:sp>
            <p:nvSpPr>
              <p:cNvPr id="16" name="Oval 15"/>
              <p:cNvSpPr/>
              <p:nvPr/>
            </p:nvSpPr>
            <p:spPr bwMode="auto">
              <a:xfrm>
                <a:off x="4875039" y="2204862"/>
                <a:ext cx="1800200" cy="1823199"/>
              </a:xfrm>
              <a:prstGeom prst="ellipse">
                <a:avLst/>
              </a:prstGeom>
              <a:solidFill>
                <a:srgbClr val="D2651C">
                  <a:alpha val="85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379095" y="2669066"/>
                <a:ext cx="864095" cy="700216"/>
              </a:xfrm>
              <a:prstGeom prst="rect">
                <a:avLst/>
              </a:prstGeom>
            </p:spPr>
          </p:pic>
        </p:grpSp>
        <p:grpSp>
          <p:nvGrpSpPr>
            <p:cNvPr id="18" name="Group 15"/>
            <p:cNvGrpSpPr/>
            <p:nvPr/>
          </p:nvGrpSpPr>
          <p:grpSpPr>
            <a:xfrm>
              <a:off x="4686906" y="3073310"/>
              <a:ext cx="1188720" cy="1182998"/>
              <a:chOff x="4154959" y="3429000"/>
              <a:chExt cx="1800200" cy="1800200"/>
            </a:xfrm>
          </p:grpSpPr>
          <p:sp>
            <p:nvSpPr>
              <p:cNvPr id="19" name="Oval 18"/>
              <p:cNvSpPr/>
              <p:nvPr/>
            </p:nvSpPr>
            <p:spPr bwMode="auto">
              <a:xfrm>
                <a:off x="4154959" y="3429000"/>
                <a:ext cx="1800200" cy="1800200"/>
              </a:xfrm>
              <a:prstGeom prst="ellipse">
                <a:avLst/>
              </a:prstGeom>
              <a:solidFill>
                <a:srgbClr val="D2651C">
                  <a:alpha val="85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621586" y="3866754"/>
                <a:ext cx="866945" cy="1002405"/>
              </a:xfrm>
              <a:prstGeom prst="rect">
                <a:avLst/>
              </a:prstGeom>
            </p:spPr>
          </p:pic>
        </p:grpSp>
        <p:sp>
          <p:nvSpPr>
            <p:cNvPr id="22" name="Oval 21"/>
            <p:cNvSpPr/>
            <p:nvPr/>
          </p:nvSpPr>
          <p:spPr bwMode="auto">
            <a:xfrm>
              <a:off x="5576967" y="3073310"/>
              <a:ext cx="1188720" cy="1181909"/>
            </a:xfrm>
            <a:prstGeom prst="ellipse">
              <a:avLst/>
            </a:prstGeom>
            <a:solidFill>
              <a:srgbClr val="D2651C">
                <a:alpha val="85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1917" y="3397727"/>
              <a:ext cx="508681" cy="533792"/>
            </a:xfrm>
            <a:prstGeom prst="rect">
              <a:avLst/>
            </a:prstGeom>
          </p:spPr>
        </p:pic>
        <p:pic>
          <p:nvPicPr>
            <p:cNvPr id="43" name="Picture 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622910" y="3177677"/>
              <a:ext cx="224237" cy="276128"/>
            </a:xfrm>
            <a:prstGeom prst="rect">
              <a:avLst/>
            </a:prstGeom>
          </p:spPr>
        </p:pic>
      </p:grpSp>
      <p:sp>
        <p:nvSpPr>
          <p:cNvPr id="44" name="Rectangle 43"/>
          <p:cNvSpPr/>
          <p:nvPr/>
        </p:nvSpPr>
        <p:spPr bwMode="auto">
          <a:xfrm>
            <a:off x="612648" y="5160616"/>
            <a:ext cx="11031143" cy="356616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marL="0" lvl="1" algn="ctr">
              <a:lnSpc>
                <a:spcPct val="110000"/>
              </a:lnSpc>
              <a:spcBef>
                <a:spcPct val="0"/>
              </a:spcBef>
            </a:pPr>
            <a:r>
              <a:rPr lang="en-US" sz="1400" b="1" dirty="0">
                <a:solidFill>
                  <a:schemeClr val="bg1"/>
                </a:solidFill>
              </a:rPr>
              <a:t>…</a:t>
            </a:r>
            <a:r>
              <a:rPr lang="is-IS" sz="1400" b="1" dirty="0">
                <a:solidFill>
                  <a:schemeClr val="tx1"/>
                </a:solidFill>
              </a:rPr>
              <a:t>…t</a:t>
            </a:r>
            <a:r>
              <a:rPr lang="en-US" sz="1400" b="1" dirty="0">
                <a:solidFill>
                  <a:schemeClr val="tx1"/>
                </a:solidFill>
              </a:rPr>
              <a:t>o achieve long-term business goals through continuous improvement and innovative financial solutions.</a:t>
            </a:r>
            <a:endParaRPr lang="en-US" sz="1400" b="1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69238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4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8E854F-F646-42B6-AAD9-DFC7839988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ra House / Town Office: Potential FIM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39FD383-C18A-4944-8AC4-A3872BCBAB60}"/>
              </a:ext>
            </a:extLst>
          </p:cNvPr>
          <p:cNvSpPr txBox="1"/>
          <p:nvPr/>
        </p:nvSpPr>
        <p:spPr>
          <a:xfrm>
            <a:off x="626567" y="1440000"/>
            <a:ext cx="6876764" cy="43292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Lighting</a:t>
            </a:r>
            <a:r>
              <a:rPr lang="en-US" sz="1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etrofit or replace all interior lighting to LED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Building Envelope</a:t>
            </a:r>
            <a:r>
              <a:rPr lang="en-US" sz="1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olve the water issues in the basement with a sealed crawl space liner or EPDM membrane on the floor and wall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Additional Improvements</a:t>
            </a:r>
            <a:r>
              <a:rPr lang="en-US" sz="1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Roof replacement to eliminate the current leaking issue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Installing a new roof hatch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O2 Prime installation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New Wi-Fi programmable Thermostat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Phase 2 options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sulate attic once the water in the basement is under control and not providing moisture to rise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AD1951F-561E-44E6-B0FF-9D92323F0060}"/>
              </a:ext>
            </a:extLst>
          </p:cNvPr>
          <p:cNvGrpSpPr/>
          <p:nvPr/>
        </p:nvGrpSpPr>
        <p:grpSpPr>
          <a:xfrm>
            <a:off x="7611343" y="1339669"/>
            <a:ext cx="3936151" cy="4178662"/>
            <a:chOff x="0" y="0"/>
            <a:chExt cx="6315075" cy="556260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9B4E9591-31A7-4825-B3FA-03E7C6E893C1}"/>
                </a:ext>
              </a:extLst>
            </p:cNvPr>
            <p:cNvGrpSpPr/>
            <p:nvPr/>
          </p:nvGrpSpPr>
          <p:grpSpPr>
            <a:xfrm>
              <a:off x="19050" y="0"/>
              <a:ext cx="6257925" cy="2743200"/>
              <a:chOff x="0" y="9525"/>
              <a:chExt cx="6257925" cy="2743200"/>
            </a:xfrm>
          </p:grpSpPr>
          <p:pic>
            <p:nvPicPr>
              <p:cNvPr id="14" name="Picture 13" descr="A room with a brick wall&#10;&#10;Description automatically generated">
                <a:extLst>
                  <a:ext uri="{FF2B5EF4-FFF2-40B4-BE49-F238E27FC236}">
                    <a16:creationId xmlns:a16="http://schemas.microsoft.com/office/drawing/2014/main" id="{286F2F23-C42E-4F0C-8D9A-CA58F07935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5400000">
                <a:off x="-342900" y="352425"/>
                <a:ext cx="2743200" cy="2057400"/>
              </a:xfrm>
              <a:prstGeom prst="rect">
                <a:avLst/>
              </a:prstGeom>
            </p:spPr>
          </p:pic>
          <p:pic>
            <p:nvPicPr>
              <p:cNvPr id="15" name="Picture 14" descr="A picture containing building, brick, sitting, man&#10;&#10;Description automatically generated">
                <a:extLst>
                  <a:ext uri="{FF2B5EF4-FFF2-40B4-BE49-F238E27FC236}">
                    <a16:creationId xmlns:a16="http://schemas.microsoft.com/office/drawing/2014/main" id="{A81AAC30-03EC-4709-9FC6-31C733A08E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5400000">
                <a:off x="3857625" y="352425"/>
                <a:ext cx="2743200" cy="2057400"/>
              </a:xfrm>
              <a:prstGeom prst="rect">
                <a:avLst/>
              </a:prstGeom>
            </p:spPr>
          </p:pic>
          <p:pic>
            <p:nvPicPr>
              <p:cNvPr id="16" name="Picture 15" descr="A picture containing sitting, man, mountain, covered&#10;&#10;Description automatically generated">
                <a:extLst>
                  <a:ext uri="{FF2B5EF4-FFF2-40B4-BE49-F238E27FC236}">
                    <a16:creationId xmlns:a16="http://schemas.microsoft.com/office/drawing/2014/main" id="{55987145-EABF-4754-B4FB-A39767A39D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5400000">
                <a:off x="1752600" y="352425"/>
                <a:ext cx="2743200" cy="2057400"/>
              </a:xfrm>
              <a:prstGeom prst="rect">
                <a:avLst/>
              </a:prstGeom>
            </p:spPr>
          </p:pic>
        </p:grpSp>
        <p:pic>
          <p:nvPicPr>
            <p:cNvPr id="11" name="Picture 10" descr="A close up of a dirty room&#10;&#10;Description automatically generated">
              <a:extLst>
                <a:ext uri="{FF2B5EF4-FFF2-40B4-BE49-F238E27FC236}">
                  <a16:creationId xmlns:a16="http://schemas.microsoft.com/office/drawing/2014/main" id="{53AE91C3-7224-4EF9-8D4E-DF6F0CD7FF7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1790700" y="3162300"/>
              <a:ext cx="2743200" cy="2057400"/>
            </a:xfrm>
            <a:prstGeom prst="rect">
              <a:avLst/>
            </a:prstGeom>
          </p:spPr>
        </p:pic>
        <p:pic>
          <p:nvPicPr>
            <p:cNvPr id="12" name="Picture 11" descr="A picture containing old, dirty, sitting, man&#10;&#10;Description automatically generated">
              <a:extLst>
                <a:ext uri="{FF2B5EF4-FFF2-40B4-BE49-F238E27FC236}">
                  <a16:creationId xmlns:a16="http://schemas.microsoft.com/office/drawing/2014/main" id="{A148600C-B776-413C-BFEE-2D1BA7C54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3914775" y="3152775"/>
              <a:ext cx="2743200" cy="2057400"/>
            </a:xfrm>
            <a:prstGeom prst="rect">
              <a:avLst/>
            </a:prstGeom>
          </p:spPr>
        </p:pic>
        <p:pic>
          <p:nvPicPr>
            <p:cNvPr id="13" name="Picture 12" descr="A picture containing bicycle, motorcycle, parked, man&#10;&#10;Description automatically generated">
              <a:extLst>
                <a:ext uri="{FF2B5EF4-FFF2-40B4-BE49-F238E27FC236}">
                  <a16:creationId xmlns:a16="http://schemas.microsoft.com/office/drawing/2014/main" id="{1177B927-5C1A-411F-A992-9004683CA6C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>
              <a:off x="-342900" y="3152775"/>
              <a:ext cx="2743200" cy="2057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645611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– Crawl space liner</a:t>
            </a:r>
          </a:p>
        </p:txBody>
      </p:sp>
      <p:pic>
        <p:nvPicPr>
          <p:cNvPr id="3076" name="Picture 4" descr="Crawl Space Encapsulation and Vapor Barriers for… | U.S. Waterproofing">
            <a:extLst>
              <a:ext uri="{FF2B5EF4-FFF2-40B4-BE49-F238E27FC236}">
                <a16:creationId xmlns:a16="http://schemas.microsoft.com/office/drawing/2014/main" id="{CD667450-072F-48E0-A7C0-87AD044FA5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675" y="1232755"/>
            <a:ext cx="8820980" cy="4603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8584603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E5EA5A-EDDF-463D-8F74-DD7431E859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Safety Buildings: Potential FIM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4B01181-3604-49F5-AADF-490B6B6C94DD}"/>
              </a:ext>
            </a:extLst>
          </p:cNvPr>
          <p:cNvSpPr txBox="1"/>
          <p:nvPr/>
        </p:nvSpPr>
        <p:spPr>
          <a:xfrm>
            <a:off x="554559" y="1440000"/>
            <a:ext cx="5940660" cy="42932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Lighting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trofit or replace all interior lighting to LED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dditional Improvement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stalling heat pump in fitness room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placing 7 heating/cooling heat pump units and AHU’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stalling mini split system for the antique pumper showcase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hase 2 options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oof replacement for both buildings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ooftop Solar option once roof is replaced  </a:t>
            </a:r>
          </a:p>
        </p:txBody>
      </p:sp>
      <p:pic>
        <p:nvPicPr>
          <p:cNvPr id="1026" name="Picture 2" descr="camden fire department camden, maine">
            <a:extLst>
              <a:ext uri="{FF2B5EF4-FFF2-40B4-BE49-F238E27FC236}">
                <a16:creationId xmlns:a16="http://schemas.microsoft.com/office/drawing/2014/main" id="{898B2F56-06B3-413F-A8C3-C957D36D67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8384" y="1440000"/>
            <a:ext cx="4876800" cy="382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7738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340DA7-2012-4697-A9CD-FEE219B6E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blic Works and WWTP: Potential FIM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44713CD-FFB4-4827-9C00-10D87F4FA79A}"/>
              </a:ext>
            </a:extLst>
          </p:cNvPr>
          <p:cNvSpPr txBox="1"/>
          <p:nvPr/>
        </p:nvSpPr>
        <p:spPr>
          <a:xfrm>
            <a:off x="590563" y="1440000"/>
            <a:ext cx="6048672" cy="4257252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Lighting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 WWTP and Public Works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trofit or replace all interior lighting to LED 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Building Envelope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 Public Work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Weather stripping on external building doors and garage doors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dditional Improvements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 Public Work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Heat Pump for office space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hase 2 options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otential rooftop solar at WWTP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A35296-7C80-4348-B29F-A427D30C8F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47247" y="1427018"/>
            <a:ext cx="4721471" cy="3542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2633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C7F77A-8391-422B-BA91-00FABDE79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now Bowl: Potential FIM’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29EC84-9757-4E72-9BEA-1B85733AB629}"/>
              </a:ext>
            </a:extLst>
          </p:cNvPr>
          <p:cNvSpPr txBox="1"/>
          <p:nvPr/>
        </p:nvSpPr>
        <p:spPr>
          <a:xfrm>
            <a:off x="590563" y="1440000"/>
            <a:ext cx="5688632" cy="42932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Lighting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trofit or replace all interior lighting to LED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place existing trial lighting fixtures 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nstall new parking lot lighting/LED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Building Envelope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Weather stripping on external building door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eplace single pane windows with double pane windows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mprove the front entrance and appearance  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b="1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dditional Improvements</a:t>
            </a: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:</a:t>
            </a: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Geothermal Heating and cooling System to make the move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    clean energy and reduce the Town’s carbon footprint 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4" name="Picture 3" descr="Camden Snow Bowl to contract with Sidecounty Sports for mountainside ski  and bike business | PenBay Pilot">
            <a:extLst>
              <a:ext uri="{FF2B5EF4-FFF2-40B4-BE49-F238E27FC236}">
                <a16:creationId xmlns:a16="http://schemas.microsoft.com/office/drawing/2014/main" id="{D9D393DE-30A2-482D-869F-55BD8E0A1167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5219" y="1441521"/>
            <a:ext cx="5208872" cy="373559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3586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C7F77A-8391-422B-BA91-00FABDE79F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now Bowl: Potential Phase 2 op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29EC84-9757-4E72-9BEA-1B85733AB629}"/>
              </a:ext>
            </a:extLst>
          </p:cNvPr>
          <p:cNvSpPr txBox="1"/>
          <p:nvPr/>
        </p:nvSpPr>
        <p:spPr>
          <a:xfrm>
            <a:off x="590563" y="1440000"/>
            <a:ext cx="5688632" cy="42932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mprove the snow making process to reduce energy usage,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    improve reliability, flexibility and sustainability.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Roof Replacement and Insulation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285750" indent="-285750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endParaRPr lang="en-US" sz="1600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2050" name="Picture 2" descr="Thick ice on Hosmer Pond bodes well for Toboggan Nationals, team  registrations close Feb. 1 | PenBay Pilot">
            <a:extLst>
              <a:ext uri="{FF2B5EF4-FFF2-40B4-BE49-F238E27FC236}">
                <a16:creationId xmlns:a16="http://schemas.microsoft.com/office/drawing/2014/main" id="{28E1AA39-A119-426C-A021-0B337182FB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9686" y="1476616"/>
            <a:ext cx="5358172" cy="3904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4737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Two columns</Name>
  <PpLayout>29</PpLayout>
  <Index>12</Index>
</p4ppTags>
</file>

<file path=customXml/item10.xml><?xml version="1.0" encoding="utf-8"?>
<p4ppTags>
  <Name>One object (small)</Name>
  <PpLayout>16</PpLayout>
  <Index>11</Index>
</p4ppTags>
</file>

<file path=customXml/item11.xml><?xml version="1.0" encoding="utf-8"?>
<p4ppTags>
  <Name>Text + Index</Name>
  <PpLayout>32</PpLayout>
  <Index>8</Index>
</p4ppTags>
</file>

<file path=customXml/item12.xml><?xml version="1.0" encoding="utf-8"?>
<p4ppTags>
  <Name>Three columns + Navigation</Name>
  <PpLayout>32</PpLayout>
  <Index>20</Index>
</p4ppTags>
</file>

<file path=customXml/item13.xml><?xml version="1.0" encoding="utf-8"?>
<p4ppTags>
  <Name>One object (large) + Navigation</Name>
  <PpLayout>32</PpLayout>
  <Index>17</Index>
</p4ppTags>
</file>

<file path=customXml/item14.xml><?xml version="1.0" encoding="utf-8"?>
<p4ppTags/>
</file>

<file path=customXml/item15.xml><?xml version="1.0" encoding="utf-8"?>
<p4ppTags>
  <Name>Four objects + Navigation</Name>
  <PpLayout>32</PpLayout>
  <Index>22</Index>
</p4ppTags>
</file>

<file path=customXml/item16.xml><?xml version="1.0" encoding="utf-8"?>
<p4ppTags>
  <Name>Four objects</Name>
  <PpLayout>24</PpLayout>
  <Index>15</Index>
</p4ppTags>
</file>

<file path=customXml/item1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F61B366122CB40AD29D120F5B8B464" ma:contentTypeVersion="12" ma:contentTypeDescription="Create a new document." ma:contentTypeScope="" ma:versionID="7a30c1edc733dd5b17b9cfba80cd6415">
  <xsd:schema xmlns:xsd="http://www.w3.org/2001/XMLSchema" xmlns:xs="http://www.w3.org/2001/XMLSchema" xmlns:p="http://schemas.microsoft.com/office/2006/metadata/properties" xmlns:ns3="170db4d2-7df5-47eb-8924-adffa47ff2e0" xmlns:ns4="b550b4d5-5ea9-4de9-92d8-b93e999d9c19" targetNamespace="http://schemas.microsoft.com/office/2006/metadata/properties" ma:root="true" ma:fieldsID="00ba0e5001ab0d751a37cdb112fd7871" ns3:_="" ns4:_="">
    <xsd:import namespace="170db4d2-7df5-47eb-8924-adffa47ff2e0"/>
    <xsd:import namespace="b550b4d5-5ea9-4de9-92d8-b93e999d9c1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70db4d2-7df5-47eb-8924-adffa47ff2e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50b4d5-5ea9-4de9-92d8-b93e999d9c1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3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p4ppTags>
  <Name>Two rows + Navigation</Name>
  <PpLayout>32</PpLayout>
  <Index>21</Index>
</p4ppTags>
</file>

<file path=customXml/item3.xml><?xml version="1.0" encoding="utf-8"?>
<p4ppTags>
  <Name>Free Content</Name>
  <PpLayout>11</PpLayout>
  <Index>9</Index>
</p4ppTags>
</file>

<file path=customXml/item4.xml><?xml version="1.0" encoding="utf-8"?>
<p4ppTags>
  <Name>One object (small) + Navigation</Name>
  <PpLayout>32</PpLayout>
  <Index>18</Index>
</p4ppTags>
</file>

<file path=customXml/item5.xml><?xml version="1.0" encoding="utf-8"?>
<p4ppTags>
  <Name>Free Content + Navigation</Name>
  <PpLayout>32</PpLayout>
  <Index>16</Index>
</p4ppTags>
</file>

<file path=customXml/item6.xml><?xml version="1.0" encoding="utf-8"?>
<p4ppTags>
  <Name>Two columns + Navigation</Name>
  <PpLayout>32</PpLayout>
  <Index>19</Index>
</p4ppTags>
</file>

<file path=customXml/item7.xml><?xml version="1.0" encoding="utf-8"?>
<p4ppTags>
  <Name>One object (large)</Name>
  <PpLayout>16</PpLayout>
  <Index>10</Index>
</p4ppTags>
</file>

<file path=customXml/item8.xml><?xml version="1.0" encoding="utf-8"?>
<p4ppTags>
  <Name>Three columns</Name>
  <PpLayout>32</PpLayout>
  <Index>14</Index>
</p4ppTags>
</file>

<file path=customXml/item9.xml><?xml version="1.0" encoding="utf-8"?>
<p4ppTags>
  <Name>Two rows</Name>
  <PpLayout>32</PpLayout>
  <Index>13</Index>
</p4ppTags>
</file>

<file path=customXml/itemProps1.xml><?xml version="1.0" encoding="utf-8"?>
<ds:datastoreItem xmlns:ds="http://schemas.openxmlformats.org/officeDocument/2006/customXml" ds:itemID="{1666F4C2-68F5-4840-A44A-1A646C0925A1}">
  <ds:schemaRefs/>
</ds:datastoreItem>
</file>

<file path=customXml/itemProps10.xml><?xml version="1.0" encoding="utf-8"?>
<ds:datastoreItem xmlns:ds="http://schemas.openxmlformats.org/officeDocument/2006/customXml" ds:itemID="{1618AA06-B22E-4D19-9680-0D7830426729}">
  <ds:schemaRefs/>
</ds:datastoreItem>
</file>

<file path=customXml/itemProps11.xml><?xml version="1.0" encoding="utf-8"?>
<ds:datastoreItem xmlns:ds="http://schemas.openxmlformats.org/officeDocument/2006/customXml" ds:itemID="{7E35FEDB-1F0E-4D67-A313-4AC59C26FF29}">
  <ds:schemaRefs/>
</ds:datastoreItem>
</file>

<file path=customXml/itemProps12.xml><?xml version="1.0" encoding="utf-8"?>
<ds:datastoreItem xmlns:ds="http://schemas.openxmlformats.org/officeDocument/2006/customXml" ds:itemID="{85D77EE6-52B7-48BE-9EDB-748F1EBB53DE}">
  <ds:schemaRefs/>
</ds:datastoreItem>
</file>

<file path=customXml/itemProps13.xml><?xml version="1.0" encoding="utf-8"?>
<ds:datastoreItem xmlns:ds="http://schemas.openxmlformats.org/officeDocument/2006/customXml" ds:itemID="{B27F640E-84DF-4F97-BC70-D045F1E6594F}">
  <ds:schemaRefs/>
</ds:datastoreItem>
</file>

<file path=customXml/itemProps14.xml><?xml version="1.0" encoding="utf-8"?>
<ds:datastoreItem xmlns:ds="http://schemas.openxmlformats.org/officeDocument/2006/customXml" ds:itemID="{572FBA73-6DBF-45DA-8282-9342320CFAB0}">
  <ds:schemaRefs/>
</ds:datastoreItem>
</file>

<file path=customXml/itemProps15.xml><?xml version="1.0" encoding="utf-8"?>
<ds:datastoreItem xmlns:ds="http://schemas.openxmlformats.org/officeDocument/2006/customXml" ds:itemID="{EAB520BC-C6EC-457E-8AB5-55DB67C86858}">
  <ds:schemaRefs/>
</ds:datastoreItem>
</file>

<file path=customXml/itemProps16.xml><?xml version="1.0" encoding="utf-8"?>
<ds:datastoreItem xmlns:ds="http://schemas.openxmlformats.org/officeDocument/2006/customXml" ds:itemID="{1581BFFB-B4CE-47A8-BE77-DC1339B1E5A7}">
  <ds:schemaRefs/>
</ds:datastoreItem>
</file>

<file path=customXml/itemProps17.xml><?xml version="1.0" encoding="utf-8"?>
<ds:datastoreItem xmlns:ds="http://schemas.openxmlformats.org/officeDocument/2006/customXml" ds:itemID="{35A66F41-126C-42F0-958F-8910C6E98D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70db4d2-7df5-47eb-8924-adffa47ff2e0"/>
    <ds:schemaRef ds:uri="b550b4d5-5ea9-4de9-92d8-b93e999d9c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8.xml><?xml version="1.0" encoding="utf-8"?>
<ds:datastoreItem xmlns:ds="http://schemas.openxmlformats.org/officeDocument/2006/customXml" ds:itemID="{A65DA813-000B-4664-9CEC-DC49072E48AE}">
  <ds:schemaRefs>
    <ds:schemaRef ds:uri="http://schemas.microsoft.com/sharepoint/v3/contenttype/forms"/>
  </ds:schemaRefs>
</ds:datastoreItem>
</file>

<file path=customXml/itemProps19.xml><?xml version="1.0" encoding="utf-8"?>
<ds:datastoreItem xmlns:ds="http://schemas.openxmlformats.org/officeDocument/2006/customXml" ds:itemID="{FFE831E4-1CA8-4506-B9FD-600D0411A66F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6C79E4F8-DCFB-483C-880A-AEEC6AAFC838}">
  <ds:schemaRefs/>
</ds:datastoreItem>
</file>

<file path=customXml/itemProps3.xml><?xml version="1.0" encoding="utf-8"?>
<ds:datastoreItem xmlns:ds="http://schemas.openxmlformats.org/officeDocument/2006/customXml" ds:itemID="{D8097D0C-BE3E-4AEC-9593-65CFCCB19297}">
  <ds:schemaRefs/>
</ds:datastoreItem>
</file>

<file path=customXml/itemProps4.xml><?xml version="1.0" encoding="utf-8"?>
<ds:datastoreItem xmlns:ds="http://schemas.openxmlformats.org/officeDocument/2006/customXml" ds:itemID="{D9FE249F-833E-4CF0-BECB-552D01D7DC9E}">
  <ds:schemaRefs/>
</ds:datastoreItem>
</file>

<file path=customXml/itemProps5.xml><?xml version="1.0" encoding="utf-8"?>
<ds:datastoreItem xmlns:ds="http://schemas.openxmlformats.org/officeDocument/2006/customXml" ds:itemID="{7CC5F709-E74B-4E5F-A728-923D5062EBEF}">
  <ds:schemaRefs/>
</ds:datastoreItem>
</file>

<file path=customXml/itemProps6.xml><?xml version="1.0" encoding="utf-8"?>
<ds:datastoreItem xmlns:ds="http://schemas.openxmlformats.org/officeDocument/2006/customXml" ds:itemID="{D7BABA95-BFFE-422B-8591-3271669EEA88}">
  <ds:schemaRefs/>
</ds:datastoreItem>
</file>

<file path=customXml/itemProps7.xml><?xml version="1.0" encoding="utf-8"?>
<ds:datastoreItem xmlns:ds="http://schemas.openxmlformats.org/officeDocument/2006/customXml" ds:itemID="{80661B8B-A327-44F9-823B-4D9EE0B3EC78}">
  <ds:schemaRefs/>
</ds:datastoreItem>
</file>

<file path=customXml/itemProps8.xml><?xml version="1.0" encoding="utf-8"?>
<ds:datastoreItem xmlns:ds="http://schemas.openxmlformats.org/officeDocument/2006/customXml" ds:itemID="{15CF3461-70D1-4B54-AFAB-DAFDA0A238CD}">
  <ds:schemaRefs/>
</ds:datastoreItem>
</file>

<file path=customXml/itemProps9.xml><?xml version="1.0" encoding="utf-8"?>
<ds:datastoreItem xmlns:ds="http://schemas.openxmlformats.org/officeDocument/2006/customXml" ds:itemID="{38AB8DE4-FD9B-4166-BEC3-3F175359613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11230</TotalTime>
  <Words>1061</Words>
  <Application>Microsoft Office PowerPoint</Application>
  <PresentationFormat>Custom</PresentationFormat>
  <Paragraphs>267</Paragraphs>
  <Slides>1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Verdana</vt:lpstr>
      <vt:lpstr>Wingdings</vt:lpstr>
      <vt:lpstr>Siemens 2016 – 16:9</vt:lpstr>
      <vt:lpstr>PowerPoint Presentation</vt:lpstr>
      <vt:lpstr>Background: Town of Camden </vt:lpstr>
      <vt:lpstr>Total Energy Management is  Where Best Practices Intersect</vt:lpstr>
      <vt:lpstr>Opera House / Town Office: Potential FIMs</vt:lpstr>
      <vt:lpstr>Example – Crawl space liner</vt:lpstr>
      <vt:lpstr>Public Safety Buildings: Potential FIMs</vt:lpstr>
      <vt:lpstr>Public Works and WWTP: Potential FIMs</vt:lpstr>
      <vt:lpstr>Snow Bowl: Potential FIM’s</vt:lpstr>
      <vt:lpstr>Snow Bowl: Potential Phase 2 options</vt:lpstr>
      <vt:lpstr>Camden Library: Potential FIMs</vt:lpstr>
      <vt:lpstr>Potential Projects for the Town of Camden: </vt:lpstr>
      <vt:lpstr>Carbon Reduction and Cost Savings Summary by Location</vt:lpstr>
      <vt:lpstr>Next Steps</vt:lpstr>
      <vt:lpstr>PowerPoint Presentation</vt:lpstr>
    </vt:vector>
  </TitlesOfParts>
  <Company>SIEMENS AG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creator>Zipse, Sarah (CC RC-US EI ELC)</dc:creator>
  <cp:keywords>C_Unrestricted</cp:keywords>
  <cp:lastModifiedBy>Audra Caler</cp:lastModifiedBy>
  <cp:revision>247</cp:revision>
  <cp:lastPrinted>2012-10-29T09:59:01Z</cp:lastPrinted>
  <dcterms:created xsi:type="dcterms:W3CDTF">2006-04-07T10:01:45Z</dcterms:created>
  <dcterms:modified xsi:type="dcterms:W3CDTF">2021-01-07T20:11:51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February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1</vt:lpwstr>
  </property>
  <property fmtid="{D5CDD505-2E9C-101B-9397-08002B2CF9AE}" pid="6" name="_NewReviewCycle">
    <vt:lpwstr/>
  </property>
  <property fmtid="{D5CDD505-2E9C-101B-9397-08002B2CF9AE}" pid="7" name="Document Confidentiality">
    <vt:lpwstr>Unrestricted</vt:lpwstr>
  </property>
  <property fmtid="{D5CDD505-2E9C-101B-9397-08002B2CF9AE}" pid="8" name="sodocoClasLang">
    <vt:lpwstr>Unrestricted</vt:lpwstr>
  </property>
  <property fmtid="{D5CDD505-2E9C-101B-9397-08002B2CF9AE}" pid="9" name="sodocoClasLangId">
    <vt:i4>0</vt:i4>
  </property>
  <property fmtid="{D5CDD505-2E9C-101B-9397-08002B2CF9AE}" pid="10" name="sodocoClasId">
    <vt:i4>0</vt:i4>
  </property>
  <property fmtid="{D5CDD505-2E9C-101B-9397-08002B2CF9AE}" pid="11" name="MSIP_Label_6f75f480-7803-4ee9-bb54-84d0635fdbe7_Enabled">
    <vt:lpwstr>true</vt:lpwstr>
  </property>
  <property fmtid="{D5CDD505-2E9C-101B-9397-08002B2CF9AE}" pid="12" name="MSIP_Label_6f75f480-7803-4ee9-bb54-84d0635fdbe7_SetDate">
    <vt:lpwstr>2020-11-30T20:34:26Z</vt:lpwstr>
  </property>
  <property fmtid="{D5CDD505-2E9C-101B-9397-08002B2CF9AE}" pid="13" name="MSIP_Label_6f75f480-7803-4ee9-bb54-84d0635fdbe7_Method">
    <vt:lpwstr>Standard</vt:lpwstr>
  </property>
  <property fmtid="{D5CDD505-2E9C-101B-9397-08002B2CF9AE}" pid="14" name="MSIP_Label_6f75f480-7803-4ee9-bb54-84d0635fdbe7_Name">
    <vt:lpwstr>unrestricted</vt:lpwstr>
  </property>
  <property fmtid="{D5CDD505-2E9C-101B-9397-08002B2CF9AE}" pid="15" name="MSIP_Label_6f75f480-7803-4ee9-bb54-84d0635fdbe7_SiteId">
    <vt:lpwstr>38ae3bcd-9579-4fd4-adda-b42e1495d55a</vt:lpwstr>
  </property>
  <property fmtid="{D5CDD505-2E9C-101B-9397-08002B2CF9AE}" pid="16" name="MSIP_Label_6f75f480-7803-4ee9-bb54-84d0635fdbe7_ActionId">
    <vt:lpwstr>2d232b79-f518-4041-98eb-dabb3dadee10</vt:lpwstr>
  </property>
  <property fmtid="{D5CDD505-2E9C-101B-9397-08002B2CF9AE}" pid="17" name="MSIP_Label_6f75f480-7803-4ee9-bb54-84d0635fdbe7_ContentBits">
    <vt:lpwstr>0</vt:lpwstr>
  </property>
  <property fmtid="{D5CDD505-2E9C-101B-9397-08002B2CF9AE}" pid="18" name="Document_Confidentiality">
    <vt:lpwstr>Unrestricted</vt:lpwstr>
  </property>
  <property fmtid="{D5CDD505-2E9C-101B-9397-08002B2CF9AE}" pid="19" name="ContentTypeId">
    <vt:lpwstr>0x010100FCF61B366122CB40AD29D120F5B8B464</vt:lpwstr>
  </property>
</Properties>
</file>